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heme/themeOverride2.xml" ContentType="application/vnd.openxmlformats-officedocument.themeOverr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notesSlides/notesSlide5.xml" ContentType="application/vnd.openxmlformats-officedocument.presentationml.notesSlide+xml"/>
  <Override PartName="/ppt/tags/tag8.xml" ContentType="application/vnd.openxmlformats-officedocument.presentationml.tags+xml"/>
  <Override PartName="/ppt/notesSlides/notesSlide6.xml" ContentType="application/vnd.openxmlformats-officedocument.presentationml.notesSlide+xml"/>
  <Override PartName="/ppt/tags/tag9.xml" ContentType="application/vnd.openxmlformats-officedocument.presentationml.tags+xml"/>
  <Override PartName="/ppt/notesSlides/notesSlide7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8.xml" ContentType="application/vnd.openxmlformats-officedocument.presentationml.notesSlide+xml"/>
  <Override PartName="/ppt/tags/tag13.xml" ContentType="application/vnd.openxmlformats-officedocument.presentationml.tags+xml"/>
  <Override PartName="/ppt/theme/themeOverride3.xml" ContentType="application/vnd.openxmlformats-officedocument.themeOverride+xml"/>
  <Override PartName="/ppt/tags/tag14.xml" ContentType="application/vnd.openxmlformats-officedocument.presentationml.tags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5"/>
  </p:notesMasterIdLst>
  <p:handoutMasterIdLst>
    <p:handoutMasterId r:id="rId16"/>
  </p:handoutMasterIdLst>
  <p:sldIdLst>
    <p:sldId id="256" r:id="rId2"/>
    <p:sldId id="266" r:id="rId3"/>
    <p:sldId id="258" r:id="rId4"/>
    <p:sldId id="267" r:id="rId5"/>
    <p:sldId id="269" r:id="rId6"/>
    <p:sldId id="263" r:id="rId7"/>
    <p:sldId id="272" r:id="rId8"/>
    <p:sldId id="264" r:id="rId9"/>
    <p:sldId id="273" r:id="rId10"/>
    <p:sldId id="274" r:id="rId11"/>
    <p:sldId id="265" r:id="rId12"/>
    <p:sldId id="276" r:id="rId13"/>
    <p:sldId id="261" r:id="rId14"/>
  </p:sldIdLst>
  <p:sldSz cx="12192000" cy="6858000"/>
  <p:notesSz cx="6858000" cy="9144000"/>
  <p:custDataLst>
    <p:tags r:id="rId17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96596"/>
    <a:srgbClr val="CC00FF"/>
    <a:srgbClr val="000000"/>
    <a:srgbClr val="631F58"/>
    <a:srgbClr val="A20000"/>
    <a:srgbClr val="A40000"/>
    <a:srgbClr val="9E0000"/>
    <a:srgbClr val="C7450B"/>
    <a:srgbClr val="E24E0C"/>
    <a:srgbClr val="DC614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87" autoAdjust="0"/>
    <p:restoredTop sz="87194" autoAdjust="0"/>
  </p:normalViewPr>
  <p:slideViewPr>
    <p:cSldViewPr snapToGrid="0">
      <p:cViewPr varScale="1">
        <p:scale>
          <a:sx n="50" d="100"/>
          <a:sy n="50" d="100"/>
        </p:scale>
        <p:origin x="54" y="3366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32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B9A56829-66AA-42AA-918E-5C6DB1AE50A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241084A9-BC5C-4420-B17C-51E328D455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  <a:t>2022-10-28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D6F2124-7B35-4E59-B9E8-DB09EE1408A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F2BF8FFE-D997-4E34-9A01-CD2014B9524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815538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2-10-28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200" dirty="0"/>
              <a:t>基于</a:t>
            </a:r>
            <a:r>
              <a:rPr lang="en-US" altLang="zh-CN" sz="1200" dirty="0"/>
              <a:t>PHP</a:t>
            </a:r>
            <a:r>
              <a:rPr lang="zh-CN" altLang="en-US" sz="1200" dirty="0"/>
              <a:t>的快递仓储管理系统</a:t>
            </a:r>
            <a:endParaRPr lang="en-US" altLang="zh-CN" dirty="0">
              <a:solidFill>
                <a:schemeClr val="tx2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dirty="0">
                <a:solidFill>
                  <a:schemeClr val="tx2"/>
                </a:solidFill>
              </a:rPr>
              <a:t>信息科学与技术学院</a:t>
            </a:r>
            <a:endParaRPr lang="en-US" altLang="zh-CN" dirty="0">
              <a:solidFill>
                <a:schemeClr val="tx2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dirty="0"/>
              <a:t>计算机科学与技术</a:t>
            </a:r>
            <a:r>
              <a:rPr lang="zh-CN" altLang="en-US" dirty="0">
                <a:solidFill>
                  <a:schemeClr val="tx2"/>
                </a:solidFill>
              </a:rPr>
              <a:t>专业</a:t>
            </a:r>
            <a:endParaRPr lang="en-US" altLang="en-US" dirty="0">
              <a:solidFill>
                <a:schemeClr val="tx2"/>
              </a:solidFill>
            </a:endParaRPr>
          </a:p>
          <a:p>
            <a:r>
              <a:rPr lang="zh-CN" altLang="en-US" dirty="0"/>
              <a:t>张洪铭</a:t>
            </a:r>
            <a:endParaRPr lang="en-US" altLang="zh-CN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493633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2445922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备注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4050156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使用到的技术：</a:t>
            </a:r>
            <a:endParaRPr lang="en-US" altLang="zh-CN" dirty="0"/>
          </a:p>
          <a:p>
            <a:r>
              <a:rPr lang="en-US" altLang="zh-CN" dirty="0"/>
              <a:t>Md5</a:t>
            </a:r>
          </a:p>
          <a:p>
            <a:r>
              <a:rPr lang="zh-CN" altLang="en-US" dirty="0"/>
              <a:t>随机数拼合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7299281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7705934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获取新信息：单号</a:t>
            </a:r>
            <a:r>
              <a:rPr lang="en-US" altLang="zh-CN" dirty="0"/>
              <a:t>+</a:t>
            </a:r>
            <a:r>
              <a:rPr lang="zh-CN" altLang="en-US" dirty="0"/>
              <a:t>名称</a:t>
            </a:r>
            <a:r>
              <a:rPr lang="en-US" altLang="zh-CN" dirty="0"/>
              <a:t>+</a:t>
            </a:r>
            <a:r>
              <a:rPr lang="zh-CN" altLang="en-US" dirty="0"/>
              <a:t>收货人信息</a:t>
            </a:r>
            <a:endParaRPr lang="en-US" altLang="zh-CN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dirty="0"/>
              <a:t>生成特征码：生成</a:t>
            </a:r>
            <a:r>
              <a:rPr lang="en-US" altLang="zh-CN" dirty="0"/>
              <a:t>md5</a:t>
            </a:r>
            <a:r>
              <a:rPr lang="zh-CN" altLang="en-US" dirty="0"/>
              <a:t>校验码</a:t>
            </a:r>
            <a:endParaRPr lang="en-US" altLang="zh-CN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dirty="0"/>
              <a:t>生成取件码：使用随机数生成</a:t>
            </a:r>
            <a:r>
              <a:rPr lang="en-US" altLang="zh-CN" dirty="0"/>
              <a:t>xx-xx-</a:t>
            </a:r>
            <a:r>
              <a:rPr lang="en-US" altLang="zh-CN" dirty="0" err="1"/>
              <a:t>xxxx</a:t>
            </a:r>
            <a:r>
              <a:rPr lang="zh-CN" altLang="en-US" dirty="0"/>
              <a:t>格式验证码</a:t>
            </a:r>
            <a:endParaRPr lang="en-US" altLang="zh-CN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dirty="0"/>
              <a:t>存入数据库：使用</a:t>
            </a:r>
            <a:r>
              <a:rPr lang="en-US" altLang="zh-CN" dirty="0"/>
              <a:t>mysqli</a:t>
            </a:r>
            <a:r>
              <a:rPr lang="zh-CN" altLang="en-US" dirty="0"/>
              <a:t>库连接至数据库</a:t>
            </a:r>
            <a:endParaRPr lang="en-US" altLang="zh-CN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dirty="0"/>
              <a:t>客户、商家查询数据：使用</a:t>
            </a:r>
            <a:r>
              <a:rPr lang="en-US" altLang="zh-CN" dirty="0"/>
              <a:t>select</a:t>
            </a:r>
            <a:r>
              <a:rPr lang="zh-CN" altLang="en-US" dirty="0"/>
              <a:t>条件查询数据库内所有数据</a:t>
            </a:r>
            <a:endParaRPr lang="en-US" altLang="zh-CN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zh-CN" dirty="0"/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0167210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5602753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0324096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559638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>
            <a:extLst>
              <a:ext uri="{FF2B5EF4-FFF2-40B4-BE49-F238E27FC236}">
                <a16:creationId xmlns:a16="http://schemas.microsoft.com/office/drawing/2014/main" id="{76A228E4-10FA-476E-A42A-542E2BC98DF7}"/>
              </a:ext>
            </a:extLst>
          </p:cNvPr>
          <p:cNvSpPr/>
          <p:nvPr userDrawn="1"/>
        </p:nvSpPr>
        <p:spPr>
          <a:xfrm>
            <a:off x="0" y="0"/>
            <a:ext cx="12192000" cy="688552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B3402FF7-9170-4E33-8C98-B2784A0F5AD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371"/>
            <a:ext cx="12192000" cy="2379391"/>
          </a:xfrm>
          <a:prstGeom prst="rect">
            <a:avLst/>
          </a:prstGeom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E1E67EA0-9197-458F-94C6-A2AA9E37186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684033"/>
            <a:ext cx="12192000" cy="4187728"/>
          </a:xfrm>
          <a:prstGeom prst="rect">
            <a:avLst/>
          </a:prstGeom>
        </p:spPr>
      </p:pic>
      <p:sp>
        <p:nvSpPr>
          <p:cNvPr id="10" name="Rectangle 2_1">
            <a:extLst>
              <a:ext uri="{FF2B5EF4-FFF2-40B4-BE49-F238E27FC236}">
                <a16:creationId xmlns:a16="http://schemas.microsoft.com/office/drawing/2014/main" id="{D5BBADFA-BE31-4706-8C13-A37379EA4BAA}"/>
              </a:ext>
            </a:extLst>
          </p:cNvPr>
          <p:cNvSpPr/>
          <p:nvPr userDrawn="1"/>
        </p:nvSpPr>
        <p:spPr>
          <a:xfrm>
            <a:off x="-1" y="0"/>
            <a:ext cx="12192000" cy="6885521"/>
          </a:xfrm>
          <a:prstGeom prst="rect">
            <a:avLst/>
          </a:prstGeom>
          <a:gradFill>
            <a:gsLst>
              <a:gs pos="20000">
                <a:srgbClr val="000000"/>
              </a:gs>
              <a:gs pos="0">
                <a:srgbClr val="000000">
                  <a:alpha val="52000"/>
                </a:srgbClr>
              </a:gs>
              <a:gs pos="62000">
                <a:schemeClr val="tx1"/>
              </a:gs>
              <a:gs pos="100000">
                <a:schemeClr val="tx1">
                  <a:alpha val="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5139159" y="3292627"/>
            <a:ext cx="1913680" cy="492296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73099" y="2041379"/>
            <a:ext cx="10845800" cy="1251248"/>
          </a:xfrm>
        </p:spPr>
        <p:txBody>
          <a:bodyPr anchor="b">
            <a:norm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548851" y="4210152"/>
            <a:ext cx="3094296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400" b="0">
                <a:solidFill>
                  <a:schemeClr val="tx2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4548851" y="4506423"/>
            <a:ext cx="3094296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400" b="0">
                <a:solidFill>
                  <a:schemeClr val="tx2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DD9D5DBB-FCAD-484B-9820-1A355DAA8469}"/>
              </a:ext>
            </a:extLst>
          </p:cNvPr>
          <p:cNvSpPr/>
          <p:nvPr userDrawn="1"/>
        </p:nvSpPr>
        <p:spPr>
          <a:xfrm>
            <a:off x="0" y="0"/>
            <a:ext cx="12192000" cy="688552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6" name="图片 15">
            <a:extLst>
              <a:ext uri="{FF2B5EF4-FFF2-40B4-BE49-F238E27FC236}">
                <a16:creationId xmlns:a16="http://schemas.microsoft.com/office/drawing/2014/main" id="{155F7D24-A420-4CC0-B4D3-777AA749BAA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690913"/>
            <a:ext cx="12192000" cy="4187728"/>
          </a:xfrm>
          <a:prstGeom prst="rect">
            <a:avLst/>
          </a:prstGeom>
        </p:spPr>
      </p:pic>
      <p:sp>
        <p:nvSpPr>
          <p:cNvPr id="7" name="Rectangle 2_1">
            <a:extLst>
              <a:ext uri="{FF2B5EF4-FFF2-40B4-BE49-F238E27FC236}">
                <a16:creationId xmlns:a16="http://schemas.microsoft.com/office/drawing/2014/main" id="{CBB40B30-4235-4F6C-B146-54E0B3738177}"/>
              </a:ext>
            </a:extLst>
          </p:cNvPr>
          <p:cNvSpPr/>
          <p:nvPr userDrawn="1"/>
        </p:nvSpPr>
        <p:spPr>
          <a:xfrm>
            <a:off x="0" y="0"/>
            <a:ext cx="12192000" cy="6885521"/>
          </a:xfrm>
          <a:prstGeom prst="rect">
            <a:avLst/>
          </a:prstGeom>
          <a:gradFill>
            <a:gsLst>
              <a:gs pos="20000">
                <a:srgbClr val="000000"/>
              </a:gs>
              <a:gs pos="0">
                <a:srgbClr val="000000">
                  <a:alpha val="52000"/>
                </a:srgbClr>
              </a:gs>
              <a:gs pos="70000">
                <a:schemeClr val="tx1"/>
              </a:gs>
              <a:gs pos="100000">
                <a:schemeClr val="tx1">
                  <a:alpha val="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5465412" y="2817586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5466528" y="3712936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bg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矩形 10">
            <a:extLst>
              <a:ext uri="{FF2B5EF4-FFF2-40B4-BE49-F238E27FC236}">
                <a16:creationId xmlns:a16="http://schemas.microsoft.com/office/drawing/2014/main" id="{129DC5DF-E683-42AA-B0F6-7AC19F30F68E}"/>
              </a:ext>
            </a:extLst>
          </p:cNvPr>
          <p:cNvSpPr/>
          <p:nvPr userDrawn="1"/>
        </p:nvSpPr>
        <p:spPr>
          <a:xfrm>
            <a:off x="0" y="0"/>
            <a:ext cx="12192000" cy="688552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2" name="图片 11">
            <a:extLst>
              <a:ext uri="{FF2B5EF4-FFF2-40B4-BE49-F238E27FC236}">
                <a16:creationId xmlns:a16="http://schemas.microsoft.com/office/drawing/2014/main" id="{8D0E1C17-FAB7-44E3-8737-C77D6254CCF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371"/>
            <a:ext cx="12192000" cy="2379391"/>
          </a:xfrm>
          <a:prstGeom prst="rect">
            <a:avLst/>
          </a:prstGeom>
        </p:spPr>
      </p:pic>
      <p:pic>
        <p:nvPicPr>
          <p:cNvPr id="14" name="图片 13">
            <a:extLst>
              <a:ext uri="{FF2B5EF4-FFF2-40B4-BE49-F238E27FC236}">
                <a16:creationId xmlns:a16="http://schemas.microsoft.com/office/drawing/2014/main" id="{17C9B180-2591-4EDD-B082-BFF58EF3594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684033"/>
            <a:ext cx="12192000" cy="4187728"/>
          </a:xfrm>
          <a:prstGeom prst="rect">
            <a:avLst/>
          </a:prstGeom>
        </p:spPr>
      </p:pic>
      <p:sp>
        <p:nvSpPr>
          <p:cNvPr id="16" name="Rectangle 2_1">
            <a:extLst>
              <a:ext uri="{FF2B5EF4-FFF2-40B4-BE49-F238E27FC236}">
                <a16:creationId xmlns:a16="http://schemas.microsoft.com/office/drawing/2014/main" id="{C61E27CD-CF73-4C58-9BE5-7725F8C2CABB}"/>
              </a:ext>
            </a:extLst>
          </p:cNvPr>
          <p:cNvSpPr/>
          <p:nvPr userDrawn="1"/>
        </p:nvSpPr>
        <p:spPr>
          <a:xfrm>
            <a:off x="-1" y="0"/>
            <a:ext cx="12192000" cy="6885521"/>
          </a:xfrm>
          <a:prstGeom prst="rect">
            <a:avLst/>
          </a:prstGeom>
          <a:gradFill>
            <a:gsLst>
              <a:gs pos="20000">
                <a:srgbClr val="000000"/>
              </a:gs>
              <a:gs pos="0">
                <a:srgbClr val="000000">
                  <a:alpha val="52000"/>
                </a:srgbClr>
              </a:gs>
              <a:gs pos="62000">
                <a:schemeClr val="tx1"/>
              </a:gs>
              <a:gs pos="100000">
                <a:schemeClr val="tx1">
                  <a:alpha val="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73100" y="1807491"/>
            <a:ext cx="10845798" cy="1621509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73100" y="4113727"/>
            <a:ext cx="10845798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ctr">
              <a:buNone/>
              <a:defRPr lang="zh-CN" altLang="en-US" sz="1400" smtClean="0">
                <a:solidFill>
                  <a:schemeClr val="tx2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73102" y="3817456"/>
            <a:ext cx="10845798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400" b="0">
                <a:solidFill>
                  <a:schemeClr val="tx2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9" name="页脚占位符 4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10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ft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.xml"/><Relationship Id="rId1" Type="http://schemas.openxmlformats.org/officeDocument/2006/relationships/themeOverride" Target="../theme/themeOverride1.xml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1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1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3.emf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3.x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themeOverride" Target="../theme/themeOverride2.xml"/><Relationship Id="rId4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副标题 4"/>
          <p:cNvSpPr>
            <a:spLocks noGrp="1"/>
          </p:cNvSpPr>
          <p:nvPr>
            <p:ph type="subTitle" idx="1"/>
          </p:nvPr>
        </p:nvSpPr>
        <p:spPr>
          <a:xfrm>
            <a:off x="5069711" y="3334045"/>
            <a:ext cx="2052576" cy="446088"/>
          </a:xfrm>
          <a:prstGeom prst="roundRect">
            <a:avLst>
              <a:gd name="adj" fmla="val 50000"/>
            </a:avLst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0800000" scaled="0"/>
          </a:gradFill>
        </p:spPr>
        <p:txBody>
          <a:bodyPr/>
          <a:lstStyle/>
          <a:p>
            <a:pPr algn="ctr"/>
            <a:r>
              <a:rPr lang="zh-CN" altLang="en-US" dirty="0"/>
              <a:t>答辩人：张洪铭</a:t>
            </a:r>
            <a:endParaRPr lang="en-US" altLang="zh-CN" dirty="0"/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673099" y="1202940"/>
            <a:ext cx="10845800" cy="1874928"/>
          </a:xfrm>
        </p:spPr>
        <p:txBody>
          <a:bodyPr>
            <a:normAutofit/>
          </a:bodyPr>
          <a:lstStyle/>
          <a:p>
            <a:r>
              <a:rPr lang="zh-CN" altLang="en-US" sz="5400" dirty="0"/>
              <a:t>基于</a:t>
            </a:r>
            <a:r>
              <a:rPr lang="en-US" altLang="zh-CN" sz="5400" dirty="0"/>
              <a:t>PHP</a:t>
            </a:r>
            <a:r>
              <a:rPr lang="zh-CN" altLang="en-US" sz="5400" dirty="0"/>
              <a:t>的快递仓储管理系统</a:t>
            </a:r>
            <a:endParaRPr lang="zh-CN" altLang="en-US" sz="5400" b="0" spc="1000" dirty="0"/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>
          <a:xfrm>
            <a:off x="673099" y="4153492"/>
            <a:ext cx="10845800" cy="296271"/>
          </a:xfrm>
        </p:spPr>
        <p:txBody>
          <a:bodyPr/>
          <a:lstStyle/>
          <a:p>
            <a:pPr algn="ctr"/>
            <a:r>
              <a:rPr lang="zh-CN" altLang="en-US"/>
              <a:t>导师：李雪芹</a:t>
            </a:r>
            <a:endParaRPr lang="en-US" altLang="zh-CN" dirty="0">
              <a:solidFill>
                <a:schemeClr val="tx2"/>
              </a:solidFill>
            </a:endParaRPr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1"/>
          </p:nvPr>
        </p:nvSpPr>
        <p:spPr>
          <a:xfrm>
            <a:off x="673099" y="4449763"/>
            <a:ext cx="10845800" cy="296271"/>
          </a:xfrm>
        </p:spPr>
        <p:txBody>
          <a:bodyPr/>
          <a:lstStyle/>
          <a:p>
            <a:pPr algn="ctr"/>
            <a:r>
              <a:rPr lang="zh-CN" altLang="en-US" dirty="0">
                <a:solidFill>
                  <a:schemeClr val="tx2"/>
                </a:solidFill>
              </a:rPr>
              <a:t>信息科学与技术学院 </a:t>
            </a:r>
            <a:r>
              <a:rPr lang="zh-CN" altLang="en-US" dirty="0"/>
              <a:t>计算机科学与技术</a:t>
            </a:r>
            <a:r>
              <a:rPr lang="zh-CN" altLang="en-US" dirty="0">
                <a:solidFill>
                  <a:schemeClr val="tx2"/>
                </a:solidFill>
              </a:rPr>
              <a:t>专业</a:t>
            </a:r>
            <a:endParaRPr lang="en-US" altLang="en-US" dirty="0">
              <a:solidFill>
                <a:schemeClr val="tx2"/>
              </a:solidFill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研究过程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0</a:t>
            </a:fld>
            <a:endParaRPr lang="zh-CN" altLang="en-US"/>
          </a:p>
        </p:txBody>
      </p:sp>
      <p:grpSp>
        <p:nvGrpSpPr>
          <p:cNvPr id="5" name="#282142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/>
        </p:nvGrpSpPr>
        <p:grpSpPr>
          <a:xfrm>
            <a:off x="660305" y="1265887"/>
            <a:ext cx="10858595" cy="4776428"/>
            <a:chOff x="660305" y="1265887"/>
            <a:chExt cx="10858595" cy="4776428"/>
          </a:xfrm>
        </p:grpSpPr>
        <p:cxnSp>
          <p:nvCxnSpPr>
            <p:cNvPr id="6" name="直接连接符 5">
              <a:extLst>
                <a:ext uri="{FF2B5EF4-FFF2-40B4-BE49-F238E27FC236}">
                  <a16:creationId xmlns:a16="http://schemas.microsoft.com/office/drawing/2014/main" id="{91CDAF31-3C03-4200-9FA1-B98A4312D7C6}"/>
                </a:ext>
              </a:extLst>
            </p:cNvPr>
            <p:cNvCxnSpPr>
              <a:cxnSpLocks/>
            </p:cNvCxnSpPr>
            <p:nvPr/>
          </p:nvCxnSpPr>
          <p:spPr>
            <a:xfrm>
              <a:off x="660400" y="3660930"/>
              <a:ext cx="2187575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7" name="iṥ1iḑé">
              <a:extLst>
                <a:ext uri="{FF2B5EF4-FFF2-40B4-BE49-F238E27FC236}">
                  <a16:creationId xmlns:a16="http://schemas.microsoft.com/office/drawing/2014/main" id="{3DF4B21C-CD0F-4B17-AB3E-7D701D482221}"/>
                </a:ext>
              </a:extLst>
            </p:cNvPr>
            <p:cNvGrpSpPr/>
            <p:nvPr/>
          </p:nvGrpSpPr>
          <p:grpSpPr>
            <a:xfrm flipH="1" flipV="1">
              <a:off x="3122984" y="3347944"/>
              <a:ext cx="5938731" cy="2598919"/>
              <a:chOff x="3498856" y="1131557"/>
              <a:chExt cx="4113138" cy="1800000"/>
            </a:xfrm>
            <a:solidFill>
              <a:schemeClr val="bg1">
                <a:lumMod val="95000"/>
              </a:schemeClr>
            </a:solidFill>
            <a:effectLst/>
          </p:grpSpPr>
          <p:grpSp>
            <p:nvGrpSpPr>
              <p:cNvPr id="40" name="í$ľiḑe">
                <a:extLst>
                  <a:ext uri="{FF2B5EF4-FFF2-40B4-BE49-F238E27FC236}">
                    <a16:creationId xmlns:a16="http://schemas.microsoft.com/office/drawing/2014/main" id="{7227460F-A003-4426-8FAA-372FA5BB2A6F}"/>
                  </a:ext>
                </a:extLst>
              </p:cNvPr>
              <p:cNvGrpSpPr/>
              <p:nvPr/>
            </p:nvGrpSpPr>
            <p:grpSpPr>
              <a:xfrm>
                <a:off x="3498856" y="1131557"/>
                <a:ext cx="2266795" cy="1800000"/>
                <a:chOff x="3498857" y="1131557"/>
                <a:chExt cx="2266795" cy="1800000"/>
              </a:xfrm>
              <a:grpFill/>
            </p:grpSpPr>
            <p:sp>
              <p:nvSpPr>
                <p:cNvPr id="45" name="í$ľiḓê">
                  <a:extLst>
                    <a:ext uri="{FF2B5EF4-FFF2-40B4-BE49-F238E27FC236}">
                      <a16:creationId xmlns:a16="http://schemas.microsoft.com/office/drawing/2014/main" id="{E8F7137C-FD32-412D-8EB8-4C76322BD0FE}"/>
                    </a:ext>
                  </a:extLst>
                </p:cNvPr>
                <p:cNvSpPr/>
                <p:nvPr/>
              </p:nvSpPr>
              <p:spPr>
                <a:xfrm rot="19431508">
                  <a:off x="3498857" y="2030724"/>
                  <a:ext cx="2266795" cy="17263"/>
                </a:xfrm>
                <a:prstGeom prst="rect">
                  <a:avLst/>
                </a:prstGeom>
                <a:grpFill/>
                <a:ln w="127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/>
                  <a:endParaRPr/>
                </a:p>
              </p:txBody>
            </p:sp>
            <p:sp>
              <p:nvSpPr>
                <p:cNvPr id="46" name="íṩļíďè">
                  <a:extLst>
                    <a:ext uri="{FF2B5EF4-FFF2-40B4-BE49-F238E27FC236}">
                      <a16:creationId xmlns:a16="http://schemas.microsoft.com/office/drawing/2014/main" id="{CE9F4CC7-6995-4EEA-B7A5-E95538E941ED}"/>
                    </a:ext>
                  </a:extLst>
                </p:cNvPr>
                <p:cNvSpPr/>
                <p:nvPr/>
              </p:nvSpPr>
              <p:spPr>
                <a:xfrm rot="18568246">
                  <a:off x="4129985" y="2022925"/>
                  <a:ext cx="1800000" cy="17263"/>
                </a:xfrm>
                <a:prstGeom prst="rect">
                  <a:avLst/>
                </a:prstGeom>
                <a:grpFill/>
                <a:ln w="127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/>
                  <a:endParaRPr/>
                </a:p>
              </p:txBody>
            </p:sp>
            <p:sp>
              <p:nvSpPr>
                <p:cNvPr id="47" name="íśḻïḍé">
                  <a:extLst>
                    <a:ext uri="{FF2B5EF4-FFF2-40B4-BE49-F238E27FC236}">
                      <a16:creationId xmlns:a16="http://schemas.microsoft.com/office/drawing/2014/main" id="{15391ADB-F35D-4E31-B223-A9790933678E}"/>
                    </a:ext>
                  </a:extLst>
                </p:cNvPr>
                <p:cNvSpPr/>
                <p:nvPr/>
              </p:nvSpPr>
              <p:spPr>
                <a:xfrm rot="17140938">
                  <a:off x="4668885" y="1989663"/>
                  <a:ext cx="1440000" cy="17263"/>
                </a:xfrm>
                <a:prstGeom prst="rect">
                  <a:avLst/>
                </a:prstGeom>
                <a:grpFill/>
                <a:ln w="127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/>
                  <a:endParaRPr/>
                </a:p>
              </p:txBody>
            </p:sp>
          </p:grpSp>
          <p:grpSp>
            <p:nvGrpSpPr>
              <p:cNvPr id="41" name="i$lîḑe">
                <a:extLst>
                  <a:ext uri="{FF2B5EF4-FFF2-40B4-BE49-F238E27FC236}">
                    <a16:creationId xmlns:a16="http://schemas.microsoft.com/office/drawing/2014/main" id="{A4F1291B-AD91-414C-98E9-3CE32B7A862F}"/>
                  </a:ext>
                </a:extLst>
              </p:cNvPr>
              <p:cNvGrpSpPr/>
              <p:nvPr/>
            </p:nvGrpSpPr>
            <p:grpSpPr>
              <a:xfrm>
                <a:off x="5345199" y="1131557"/>
                <a:ext cx="2266795" cy="1800000"/>
                <a:chOff x="5345199" y="1131557"/>
                <a:chExt cx="2266795" cy="1800000"/>
              </a:xfrm>
              <a:grpFill/>
            </p:grpSpPr>
            <p:sp>
              <p:nvSpPr>
                <p:cNvPr id="42" name="ïṩḷïḋê">
                  <a:extLst>
                    <a:ext uri="{FF2B5EF4-FFF2-40B4-BE49-F238E27FC236}">
                      <a16:creationId xmlns:a16="http://schemas.microsoft.com/office/drawing/2014/main" id="{25120CD2-2A54-4F54-BA60-0E8017B49733}"/>
                    </a:ext>
                  </a:extLst>
                </p:cNvPr>
                <p:cNvSpPr/>
                <p:nvPr/>
              </p:nvSpPr>
              <p:spPr>
                <a:xfrm rot="2168492" flipH="1">
                  <a:off x="5345199" y="2030724"/>
                  <a:ext cx="2266795" cy="17263"/>
                </a:xfrm>
                <a:prstGeom prst="rect">
                  <a:avLst/>
                </a:prstGeom>
                <a:grpFill/>
                <a:ln w="127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/>
                  <a:endParaRPr/>
                </a:p>
              </p:txBody>
            </p:sp>
            <p:sp>
              <p:nvSpPr>
                <p:cNvPr id="43" name="ïṩľiḋè">
                  <a:extLst>
                    <a:ext uri="{FF2B5EF4-FFF2-40B4-BE49-F238E27FC236}">
                      <a16:creationId xmlns:a16="http://schemas.microsoft.com/office/drawing/2014/main" id="{AAD9C6C6-59B4-49EB-8DA2-700DF8B58DB2}"/>
                    </a:ext>
                  </a:extLst>
                </p:cNvPr>
                <p:cNvSpPr/>
                <p:nvPr/>
              </p:nvSpPr>
              <p:spPr>
                <a:xfrm rot="3031754" flipH="1">
                  <a:off x="5180867" y="2022925"/>
                  <a:ext cx="1800000" cy="17263"/>
                </a:xfrm>
                <a:prstGeom prst="rect">
                  <a:avLst/>
                </a:prstGeom>
                <a:grpFill/>
                <a:ln w="127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/>
                  <a:endParaRPr/>
                </a:p>
              </p:txBody>
            </p:sp>
            <p:sp>
              <p:nvSpPr>
                <p:cNvPr id="44" name="îṥļidê">
                  <a:extLst>
                    <a:ext uri="{FF2B5EF4-FFF2-40B4-BE49-F238E27FC236}">
                      <a16:creationId xmlns:a16="http://schemas.microsoft.com/office/drawing/2014/main" id="{2E6A7461-65AD-4CCE-97F8-67560D48CEA8}"/>
                    </a:ext>
                  </a:extLst>
                </p:cNvPr>
                <p:cNvSpPr/>
                <p:nvPr/>
              </p:nvSpPr>
              <p:spPr>
                <a:xfrm rot="4459062" flipH="1">
                  <a:off x="5001964" y="1989663"/>
                  <a:ext cx="1440000" cy="17263"/>
                </a:xfrm>
                <a:prstGeom prst="rect">
                  <a:avLst/>
                </a:prstGeom>
                <a:grpFill/>
                <a:ln w="127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/>
                  <a:endParaRPr/>
                </a:p>
              </p:txBody>
            </p:sp>
          </p:grpSp>
        </p:grpSp>
        <p:grpSp>
          <p:nvGrpSpPr>
            <p:cNvPr id="8" name="íśḷîḍê">
              <a:extLst>
                <a:ext uri="{FF2B5EF4-FFF2-40B4-BE49-F238E27FC236}">
                  <a16:creationId xmlns:a16="http://schemas.microsoft.com/office/drawing/2014/main" id="{10B4CED8-1407-4D80-87ED-630C74F7BC22}"/>
                </a:ext>
              </a:extLst>
            </p:cNvPr>
            <p:cNvGrpSpPr/>
            <p:nvPr/>
          </p:nvGrpSpPr>
          <p:grpSpPr>
            <a:xfrm>
              <a:off x="3107172" y="1419013"/>
              <a:ext cx="5970354" cy="2574040"/>
              <a:chOff x="3364959" y="995073"/>
              <a:chExt cx="4380632" cy="1906907"/>
            </a:xfrm>
            <a:solidFill>
              <a:schemeClr val="bg1">
                <a:lumMod val="95000"/>
              </a:schemeClr>
            </a:solidFill>
            <a:effectLst/>
          </p:grpSpPr>
          <p:sp>
            <p:nvSpPr>
              <p:cNvPr id="34" name="íṥḻîḍê">
                <a:extLst>
                  <a:ext uri="{FF2B5EF4-FFF2-40B4-BE49-F238E27FC236}">
                    <a16:creationId xmlns:a16="http://schemas.microsoft.com/office/drawing/2014/main" id="{47E0DA1F-84DC-4401-B3A2-037CA0590F80}"/>
                  </a:ext>
                </a:extLst>
              </p:cNvPr>
              <p:cNvSpPr/>
              <p:nvPr/>
            </p:nvSpPr>
            <p:spPr>
              <a:xfrm rot="19431508">
                <a:off x="3364959" y="1944278"/>
                <a:ext cx="2401427" cy="18465"/>
              </a:xfrm>
              <a:prstGeom prst="rect">
                <a:avLst/>
              </a:prstGeom>
              <a:grp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5" name="iṧḻiḓe">
                <a:extLst>
                  <a:ext uri="{FF2B5EF4-FFF2-40B4-BE49-F238E27FC236}">
                    <a16:creationId xmlns:a16="http://schemas.microsoft.com/office/drawing/2014/main" id="{2DEE9E1D-197D-4A1F-AFB2-231E3E02A59F}"/>
                  </a:ext>
                </a:extLst>
              </p:cNvPr>
              <p:cNvSpPr/>
              <p:nvPr/>
            </p:nvSpPr>
            <p:spPr>
              <a:xfrm rot="18568246">
                <a:off x="4029856" y="1939383"/>
                <a:ext cx="1906907" cy="18288"/>
              </a:xfrm>
              <a:prstGeom prst="rect">
                <a:avLst/>
              </a:prstGeom>
              <a:grp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6" name="ïṥḻiḑe">
                <a:extLst>
                  <a:ext uri="{FF2B5EF4-FFF2-40B4-BE49-F238E27FC236}">
                    <a16:creationId xmlns:a16="http://schemas.microsoft.com/office/drawing/2014/main" id="{7B1CEE2D-C4BD-4A80-A23A-C11E2DB6BC66}"/>
                  </a:ext>
                </a:extLst>
              </p:cNvPr>
              <p:cNvSpPr/>
              <p:nvPr/>
            </p:nvSpPr>
            <p:spPr>
              <a:xfrm rot="17140938">
                <a:off x="4596971" y="1911435"/>
                <a:ext cx="1525526" cy="18288"/>
              </a:xfrm>
              <a:prstGeom prst="rect">
                <a:avLst/>
              </a:prstGeom>
              <a:grp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7" name="íŝḻîḍè">
                <a:extLst>
                  <a:ext uri="{FF2B5EF4-FFF2-40B4-BE49-F238E27FC236}">
                    <a16:creationId xmlns:a16="http://schemas.microsoft.com/office/drawing/2014/main" id="{8FF4875B-F809-4F4D-93F4-A0038695672F}"/>
                  </a:ext>
                </a:extLst>
              </p:cNvPr>
              <p:cNvSpPr/>
              <p:nvPr/>
            </p:nvSpPr>
            <p:spPr>
              <a:xfrm rot="2168492" flipH="1">
                <a:off x="5344164" y="1944277"/>
                <a:ext cx="2401427" cy="18465"/>
              </a:xfrm>
              <a:prstGeom prst="rect">
                <a:avLst/>
              </a:prstGeom>
              <a:grp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8" name="îśliďè">
                <a:extLst>
                  <a:ext uri="{FF2B5EF4-FFF2-40B4-BE49-F238E27FC236}">
                    <a16:creationId xmlns:a16="http://schemas.microsoft.com/office/drawing/2014/main" id="{BB178AC6-11D6-4869-9B51-B6F4ED3AEAF7}"/>
                  </a:ext>
                </a:extLst>
              </p:cNvPr>
              <p:cNvSpPr/>
              <p:nvPr/>
            </p:nvSpPr>
            <p:spPr>
              <a:xfrm rot="3031754" flipH="1">
                <a:off x="5173797" y="1939383"/>
                <a:ext cx="1906907" cy="18288"/>
              </a:xfrm>
              <a:prstGeom prst="rect">
                <a:avLst/>
              </a:prstGeom>
              <a:grp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9" name="ïś1ïḓê">
                <a:extLst>
                  <a:ext uri="{FF2B5EF4-FFF2-40B4-BE49-F238E27FC236}">
                    <a16:creationId xmlns:a16="http://schemas.microsoft.com/office/drawing/2014/main" id="{F99BCA49-4096-4266-B448-26D11DF88148}"/>
                  </a:ext>
                </a:extLst>
              </p:cNvPr>
              <p:cNvSpPr/>
              <p:nvPr/>
            </p:nvSpPr>
            <p:spPr>
              <a:xfrm rot="4459062" flipH="1">
                <a:off x="4988053" y="1911435"/>
                <a:ext cx="1525526" cy="18288"/>
              </a:xfrm>
              <a:prstGeom prst="rect">
                <a:avLst/>
              </a:prstGeom>
              <a:grp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/>
              </a:p>
            </p:txBody>
          </p:sp>
        </p:grpSp>
        <p:sp>
          <p:nvSpPr>
            <p:cNvPr id="9" name="ï$ḻïḓè">
              <a:extLst>
                <a:ext uri="{FF2B5EF4-FFF2-40B4-BE49-F238E27FC236}">
                  <a16:creationId xmlns:a16="http://schemas.microsoft.com/office/drawing/2014/main" id="{170EFE15-49A8-41E4-89E2-F321E2D284E7}"/>
                </a:ext>
              </a:extLst>
            </p:cNvPr>
            <p:cNvSpPr/>
            <p:nvPr/>
          </p:nvSpPr>
          <p:spPr>
            <a:xfrm>
              <a:off x="2991395" y="3223987"/>
              <a:ext cx="860239" cy="860238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 w="38100">
              <a:solidFill>
                <a:schemeClr val="bg1"/>
              </a:solidFill>
            </a:ln>
            <a:effectLst/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ot="0" spcFirstLastPara="0" vert="horz" wrap="square" lIns="0" tIns="0" rIns="0" bIns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lvl="0" algn="ctr"/>
              <a:r>
                <a:rPr lang="zh-CN" altLang="en-US" sz="1200" b="1" dirty="0">
                  <a:solidFill>
                    <a:schemeClr val="bg1"/>
                  </a:solidFill>
                </a:rPr>
                <a:t>前端</a:t>
              </a:r>
            </a:p>
          </p:txBody>
        </p:sp>
        <p:sp>
          <p:nvSpPr>
            <p:cNvPr id="10" name="ïṥḷíḋê">
              <a:extLst>
                <a:ext uri="{FF2B5EF4-FFF2-40B4-BE49-F238E27FC236}">
                  <a16:creationId xmlns:a16="http://schemas.microsoft.com/office/drawing/2014/main" id="{5BA633CF-B9F7-4508-961E-C42511394BFB}"/>
                </a:ext>
              </a:extLst>
            </p:cNvPr>
            <p:cNvSpPr/>
            <p:nvPr/>
          </p:nvSpPr>
          <p:spPr>
            <a:xfrm>
              <a:off x="4061190" y="3223987"/>
              <a:ext cx="860239" cy="860238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 w="38100">
              <a:solidFill>
                <a:schemeClr val="bg1"/>
              </a:solidFill>
            </a:ln>
            <a:effectLst/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ot="0" spcFirstLastPara="0" vert="horz" wrap="square" lIns="0" tIns="0" rIns="0" bIns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lvl="0" algn="ctr"/>
              <a:r>
                <a:rPr lang="zh-CN" altLang="en-US" sz="1200" b="1" dirty="0">
                  <a:solidFill>
                    <a:schemeClr val="bg1"/>
                  </a:solidFill>
                </a:rPr>
                <a:t>后端</a:t>
              </a:r>
            </a:p>
          </p:txBody>
        </p:sp>
        <p:sp>
          <p:nvSpPr>
            <p:cNvPr id="11" name="îś1îḓè">
              <a:extLst>
                <a:ext uri="{FF2B5EF4-FFF2-40B4-BE49-F238E27FC236}">
                  <a16:creationId xmlns:a16="http://schemas.microsoft.com/office/drawing/2014/main" id="{CB4F4FE9-F1FA-4963-8398-28A5F80761B9}"/>
                </a:ext>
              </a:extLst>
            </p:cNvPr>
            <p:cNvSpPr/>
            <p:nvPr/>
          </p:nvSpPr>
          <p:spPr>
            <a:xfrm>
              <a:off x="5130986" y="3223987"/>
              <a:ext cx="860239" cy="860238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 w="38100">
              <a:solidFill>
                <a:schemeClr val="bg1"/>
              </a:solidFill>
            </a:ln>
            <a:effectLst/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ot="0" spcFirstLastPara="0" vert="horz" wrap="square" lIns="0" tIns="0" rIns="0" bIns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lvl="0" algn="ctr"/>
              <a:r>
                <a:rPr lang="zh-CN" altLang="en-US" sz="1200" b="1" dirty="0">
                  <a:solidFill>
                    <a:schemeClr val="bg1"/>
                  </a:solidFill>
                </a:rPr>
                <a:t>数据库</a:t>
              </a:r>
            </a:p>
          </p:txBody>
        </p:sp>
        <p:sp>
          <p:nvSpPr>
            <p:cNvPr id="12" name="iṣ1îde">
              <a:extLst>
                <a:ext uri="{FF2B5EF4-FFF2-40B4-BE49-F238E27FC236}">
                  <a16:creationId xmlns:a16="http://schemas.microsoft.com/office/drawing/2014/main" id="{9D85FB9B-F93E-4E1E-A7AB-CDFE88D9FD90}"/>
                </a:ext>
              </a:extLst>
            </p:cNvPr>
            <p:cNvSpPr/>
            <p:nvPr/>
          </p:nvSpPr>
          <p:spPr>
            <a:xfrm>
              <a:off x="6200779" y="3223987"/>
              <a:ext cx="860239" cy="860238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 w="38100">
              <a:solidFill>
                <a:schemeClr val="bg1"/>
              </a:solidFill>
            </a:ln>
            <a:effectLst/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ot="0" spcFirstLastPara="0" vert="horz" wrap="square" lIns="0" tIns="0" rIns="0" bIns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lvl="0" algn="ctr"/>
              <a:r>
                <a:rPr lang="zh-CN" altLang="en-US" sz="1200" b="1" dirty="0">
                  <a:solidFill>
                    <a:schemeClr val="bg1"/>
                  </a:solidFill>
                </a:rPr>
                <a:t>服务器</a:t>
              </a:r>
            </a:p>
          </p:txBody>
        </p:sp>
        <p:sp>
          <p:nvSpPr>
            <p:cNvPr id="13" name="îşḻíḍè">
              <a:extLst>
                <a:ext uri="{FF2B5EF4-FFF2-40B4-BE49-F238E27FC236}">
                  <a16:creationId xmlns:a16="http://schemas.microsoft.com/office/drawing/2014/main" id="{A9F27660-75D1-478A-8EEC-A238EBC98A75}"/>
                </a:ext>
              </a:extLst>
            </p:cNvPr>
            <p:cNvSpPr/>
            <p:nvPr/>
          </p:nvSpPr>
          <p:spPr>
            <a:xfrm>
              <a:off x="7270574" y="3223987"/>
              <a:ext cx="860239" cy="860238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 w="38100">
              <a:solidFill>
                <a:schemeClr val="bg1"/>
              </a:solidFill>
            </a:ln>
            <a:effectLst/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ot="0" spcFirstLastPara="0" vert="horz" wrap="square" lIns="0" tIns="0" rIns="0" bIns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lvl="0" algn="ctr"/>
              <a:r>
                <a:rPr lang="zh-CN" altLang="en-US" sz="1200" b="1" dirty="0">
                  <a:solidFill>
                    <a:schemeClr val="bg1"/>
                  </a:solidFill>
                </a:rPr>
                <a:t>商户</a:t>
              </a:r>
            </a:p>
          </p:txBody>
        </p:sp>
        <p:sp>
          <p:nvSpPr>
            <p:cNvPr id="14" name="ïşḷiḍè">
              <a:extLst>
                <a:ext uri="{FF2B5EF4-FFF2-40B4-BE49-F238E27FC236}">
                  <a16:creationId xmlns:a16="http://schemas.microsoft.com/office/drawing/2014/main" id="{342CA7F1-AAC1-46BF-A4F4-F886D700992E}"/>
                </a:ext>
              </a:extLst>
            </p:cNvPr>
            <p:cNvSpPr/>
            <p:nvPr/>
          </p:nvSpPr>
          <p:spPr>
            <a:xfrm>
              <a:off x="8340369" y="3223987"/>
              <a:ext cx="860239" cy="860238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 w="38100">
              <a:solidFill>
                <a:schemeClr val="bg1"/>
              </a:solidFill>
            </a:ln>
            <a:effectLst/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ot="0" spcFirstLastPara="0" vert="horz" wrap="square" lIns="0" tIns="0" rIns="0" bIns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lvl="0" algn="ctr"/>
              <a:r>
                <a:rPr lang="zh-CN" altLang="en-US" sz="1200" b="1" dirty="0">
                  <a:solidFill>
                    <a:schemeClr val="bg1"/>
                  </a:solidFill>
                </a:rPr>
                <a:t>客户</a:t>
              </a:r>
            </a:p>
          </p:txBody>
        </p:sp>
        <p:grpSp>
          <p:nvGrpSpPr>
            <p:cNvPr id="15" name="iṩḻiḓè">
              <a:extLst>
                <a:ext uri="{FF2B5EF4-FFF2-40B4-BE49-F238E27FC236}">
                  <a16:creationId xmlns:a16="http://schemas.microsoft.com/office/drawing/2014/main" id="{A9959E64-9109-4F96-8D13-3D1F11751437}"/>
                </a:ext>
              </a:extLst>
            </p:cNvPr>
            <p:cNvGrpSpPr/>
            <p:nvPr/>
          </p:nvGrpSpPr>
          <p:grpSpPr>
            <a:xfrm>
              <a:off x="5544024" y="4938360"/>
              <a:ext cx="1103958" cy="1103955"/>
              <a:chOff x="5152952" y="3577406"/>
              <a:chExt cx="810007" cy="810006"/>
            </a:xfrm>
            <a:effectLst/>
          </p:grpSpPr>
          <p:sp>
            <p:nvSpPr>
              <p:cNvPr id="32" name="iŝḻíḓê">
                <a:extLst>
                  <a:ext uri="{FF2B5EF4-FFF2-40B4-BE49-F238E27FC236}">
                    <a16:creationId xmlns:a16="http://schemas.microsoft.com/office/drawing/2014/main" id="{543AEA26-0A23-487C-82F5-82916A42B358}"/>
                  </a:ext>
                </a:extLst>
              </p:cNvPr>
              <p:cNvSpPr/>
              <p:nvPr/>
            </p:nvSpPr>
            <p:spPr>
              <a:xfrm>
                <a:off x="5152952" y="3577406"/>
                <a:ext cx="810007" cy="810006"/>
              </a:xfrm>
              <a:prstGeom prst="ellipse">
                <a:avLst/>
              </a:prstGeom>
              <a:solidFill>
                <a:schemeClr val="bg1"/>
              </a:solidFill>
              <a:ln w="38100">
                <a:solidFill>
                  <a:schemeClr val="accent1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3" name="î$1íḑé">
                <a:extLst>
                  <a:ext uri="{FF2B5EF4-FFF2-40B4-BE49-F238E27FC236}">
                    <a16:creationId xmlns:a16="http://schemas.microsoft.com/office/drawing/2014/main" id="{5A1CF5B0-BDDD-4667-B87C-F1AA2F7CF6B3}"/>
                  </a:ext>
                </a:extLst>
              </p:cNvPr>
              <p:cNvSpPr/>
              <p:nvPr/>
            </p:nvSpPr>
            <p:spPr bwMode="auto">
              <a:xfrm>
                <a:off x="5405170" y="3814276"/>
                <a:ext cx="305568" cy="305568"/>
              </a:xfrm>
              <a:custGeom>
                <a:avLst/>
                <a:gdLst/>
                <a:ahLst/>
                <a:cxnLst>
                  <a:cxn ang="0">
                    <a:pos x="175" y="56"/>
                  </a:cxn>
                  <a:cxn ang="0">
                    <a:pos x="96" y="3"/>
                  </a:cxn>
                  <a:cxn ang="0">
                    <a:pos x="83" y="3"/>
                  </a:cxn>
                  <a:cxn ang="0">
                    <a:pos x="5" y="56"/>
                  </a:cxn>
                  <a:cxn ang="0">
                    <a:pos x="0" y="66"/>
                  </a:cxn>
                  <a:cxn ang="0">
                    <a:pos x="0" y="167"/>
                  </a:cxn>
                  <a:cxn ang="0">
                    <a:pos x="11" y="179"/>
                  </a:cxn>
                  <a:cxn ang="0">
                    <a:pos x="168" y="179"/>
                  </a:cxn>
                  <a:cxn ang="0">
                    <a:pos x="180" y="167"/>
                  </a:cxn>
                  <a:cxn ang="0">
                    <a:pos x="180" y="66"/>
                  </a:cxn>
                  <a:cxn ang="0">
                    <a:pos x="175" y="56"/>
                  </a:cxn>
                  <a:cxn ang="0">
                    <a:pos x="168" y="82"/>
                  </a:cxn>
                  <a:cxn ang="0">
                    <a:pos x="90" y="135"/>
                  </a:cxn>
                  <a:cxn ang="0">
                    <a:pos x="11" y="82"/>
                  </a:cxn>
                  <a:cxn ang="0">
                    <a:pos x="11" y="71"/>
                  </a:cxn>
                  <a:cxn ang="0">
                    <a:pos x="17" y="65"/>
                  </a:cxn>
                  <a:cxn ang="0">
                    <a:pos x="162" y="65"/>
                  </a:cxn>
                  <a:cxn ang="0">
                    <a:pos x="168" y="71"/>
                  </a:cxn>
                  <a:cxn ang="0">
                    <a:pos x="168" y="82"/>
                  </a:cxn>
                  <a:cxn ang="0">
                    <a:pos x="97" y="84"/>
                  </a:cxn>
                  <a:cxn ang="0">
                    <a:pos x="90" y="77"/>
                  </a:cxn>
                  <a:cxn ang="0">
                    <a:pos x="82" y="84"/>
                  </a:cxn>
                  <a:cxn ang="0">
                    <a:pos x="82" y="109"/>
                  </a:cxn>
                  <a:cxn ang="0">
                    <a:pos x="66" y="109"/>
                  </a:cxn>
                  <a:cxn ang="0">
                    <a:pos x="90" y="125"/>
                  </a:cxn>
                  <a:cxn ang="0">
                    <a:pos x="113" y="109"/>
                  </a:cxn>
                  <a:cxn ang="0">
                    <a:pos x="97" y="109"/>
                  </a:cxn>
                  <a:cxn ang="0">
                    <a:pos x="97" y="84"/>
                  </a:cxn>
                </a:cxnLst>
                <a:rect l="0" t="0" r="r" b="b"/>
                <a:pathLst>
                  <a:path w="180" h="179">
                    <a:moveTo>
                      <a:pt x="175" y="56"/>
                    </a:moveTo>
                    <a:cubicBezTo>
                      <a:pt x="96" y="3"/>
                      <a:pt x="96" y="3"/>
                      <a:pt x="96" y="3"/>
                    </a:cubicBezTo>
                    <a:cubicBezTo>
                      <a:pt x="92" y="0"/>
                      <a:pt x="87" y="0"/>
                      <a:pt x="83" y="3"/>
                    </a:cubicBezTo>
                    <a:cubicBezTo>
                      <a:pt x="5" y="56"/>
                      <a:pt x="5" y="56"/>
                      <a:pt x="5" y="56"/>
                    </a:cubicBezTo>
                    <a:cubicBezTo>
                      <a:pt x="2" y="58"/>
                      <a:pt x="0" y="62"/>
                      <a:pt x="0" y="66"/>
                    </a:cubicBezTo>
                    <a:cubicBezTo>
                      <a:pt x="0" y="167"/>
                      <a:pt x="0" y="167"/>
                      <a:pt x="0" y="167"/>
                    </a:cubicBezTo>
                    <a:cubicBezTo>
                      <a:pt x="0" y="174"/>
                      <a:pt x="5" y="179"/>
                      <a:pt x="11" y="179"/>
                    </a:cubicBezTo>
                    <a:cubicBezTo>
                      <a:pt x="168" y="179"/>
                      <a:pt x="168" y="179"/>
                      <a:pt x="168" y="179"/>
                    </a:cubicBezTo>
                    <a:cubicBezTo>
                      <a:pt x="175" y="179"/>
                      <a:pt x="180" y="174"/>
                      <a:pt x="180" y="167"/>
                    </a:cubicBezTo>
                    <a:cubicBezTo>
                      <a:pt x="180" y="66"/>
                      <a:pt x="180" y="66"/>
                      <a:pt x="180" y="66"/>
                    </a:cubicBezTo>
                    <a:cubicBezTo>
                      <a:pt x="180" y="62"/>
                      <a:pt x="178" y="58"/>
                      <a:pt x="175" y="56"/>
                    </a:cubicBezTo>
                    <a:close/>
                    <a:moveTo>
                      <a:pt x="168" y="82"/>
                    </a:moveTo>
                    <a:cubicBezTo>
                      <a:pt x="90" y="135"/>
                      <a:pt x="90" y="135"/>
                      <a:pt x="90" y="135"/>
                    </a:cubicBezTo>
                    <a:cubicBezTo>
                      <a:pt x="11" y="82"/>
                      <a:pt x="11" y="82"/>
                      <a:pt x="11" y="82"/>
                    </a:cubicBezTo>
                    <a:cubicBezTo>
                      <a:pt x="11" y="71"/>
                      <a:pt x="11" y="71"/>
                      <a:pt x="11" y="71"/>
                    </a:cubicBezTo>
                    <a:cubicBezTo>
                      <a:pt x="11" y="68"/>
                      <a:pt x="14" y="65"/>
                      <a:pt x="17" y="65"/>
                    </a:cubicBezTo>
                    <a:cubicBezTo>
                      <a:pt x="162" y="65"/>
                      <a:pt x="162" y="65"/>
                      <a:pt x="162" y="65"/>
                    </a:cubicBezTo>
                    <a:cubicBezTo>
                      <a:pt x="166" y="65"/>
                      <a:pt x="168" y="68"/>
                      <a:pt x="168" y="71"/>
                    </a:cubicBezTo>
                    <a:lnTo>
                      <a:pt x="168" y="82"/>
                    </a:lnTo>
                    <a:close/>
                    <a:moveTo>
                      <a:pt x="97" y="84"/>
                    </a:moveTo>
                    <a:cubicBezTo>
                      <a:pt x="97" y="80"/>
                      <a:pt x="94" y="77"/>
                      <a:pt x="90" y="77"/>
                    </a:cubicBezTo>
                    <a:cubicBezTo>
                      <a:pt x="86" y="77"/>
                      <a:pt x="82" y="80"/>
                      <a:pt x="82" y="84"/>
                    </a:cubicBezTo>
                    <a:cubicBezTo>
                      <a:pt x="82" y="109"/>
                      <a:pt x="82" y="109"/>
                      <a:pt x="82" y="109"/>
                    </a:cubicBezTo>
                    <a:cubicBezTo>
                      <a:pt x="66" y="109"/>
                      <a:pt x="66" y="109"/>
                      <a:pt x="66" y="109"/>
                    </a:cubicBezTo>
                    <a:cubicBezTo>
                      <a:pt x="90" y="125"/>
                      <a:pt x="90" y="125"/>
                      <a:pt x="90" y="125"/>
                    </a:cubicBezTo>
                    <a:cubicBezTo>
                      <a:pt x="113" y="109"/>
                      <a:pt x="113" y="109"/>
                      <a:pt x="113" y="109"/>
                    </a:cubicBezTo>
                    <a:cubicBezTo>
                      <a:pt x="97" y="109"/>
                      <a:pt x="97" y="109"/>
                      <a:pt x="97" y="109"/>
                    </a:cubicBezTo>
                    <a:lnTo>
                      <a:pt x="97" y="84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grpSp>
          <p:nvGrpSpPr>
            <p:cNvPr id="16" name="i$lïḑé">
              <a:extLst>
                <a:ext uri="{FF2B5EF4-FFF2-40B4-BE49-F238E27FC236}">
                  <a16:creationId xmlns:a16="http://schemas.microsoft.com/office/drawing/2014/main" id="{62D1E2CD-E26D-4682-9148-7C91B9138029}"/>
                </a:ext>
              </a:extLst>
            </p:cNvPr>
            <p:cNvGrpSpPr/>
            <p:nvPr/>
          </p:nvGrpSpPr>
          <p:grpSpPr>
            <a:xfrm>
              <a:off x="5544024" y="1265887"/>
              <a:ext cx="1103958" cy="1103955"/>
              <a:chOff x="5152952" y="882800"/>
              <a:chExt cx="810007" cy="810006"/>
            </a:xfrm>
            <a:effectLst/>
          </p:grpSpPr>
          <p:sp>
            <p:nvSpPr>
              <p:cNvPr id="30" name="íśļîḓe">
                <a:extLst>
                  <a:ext uri="{FF2B5EF4-FFF2-40B4-BE49-F238E27FC236}">
                    <a16:creationId xmlns:a16="http://schemas.microsoft.com/office/drawing/2014/main" id="{8812ECEA-701B-4967-8FA1-5A8FF58C530C}"/>
                  </a:ext>
                </a:extLst>
              </p:cNvPr>
              <p:cNvSpPr/>
              <p:nvPr/>
            </p:nvSpPr>
            <p:spPr>
              <a:xfrm>
                <a:off x="5152952" y="882800"/>
                <a:ext cx="810007" cy="810006"/>
              </a:xfrm>
              <a:prstGeom prst="ellipse">
                <a:avLst/>
              </a:prstGeom>
              <a:solidFill>
                <a:schemeClr val="bg1"/>
              </a:solidFill>
              <a:ln w="38100">
                <a:solidFill>
                  <a:schemeClr val="accent1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1" name="ïs1ïdé">
                <a:extLst>
                  <a:ext uri="{FF2B5EF4-FFF2-40B4-BE49-F238E27FC236}">
                    <a16:creationId xmlns:a16="http://schemas.microsoft.com/office/drawing/2014/main" id="{E5E3F8DD-0276-4300-B03B-EF2A3B5FCB42}"/>
                  </a:ext>
                </a:extLst>
              </p:cNvPr>
              <p:cNvSpPr/>
              <p:nvPr/>
            </p:nvSpPr>
            <p:spPr bwMode="auto">
              <a:xfrm>
                <a:off x="5367333" y="1135760"/>
                <a:ext cx="355667" cy="278512"/>
              </a:xfrm>
              <a:custGeom>
                <a:avLst/>
                <a:gdLst/>
                <a:ahLst/>
                <a:cxnLst>
                  <a:cxn ang="0">
                    <a:pos x="338" y="76"/>
                  </a:cxn>
                  <a:cxn ang="0">
                    <a:pos x="338" y="38"/>
                  </a:cxn>
                  <a:cxn ang="0">
                    <a:pos x="300" y="38"/>
                  </a:cxn>
                  <a:cxn ang="0">
                    <a:pos x="300" y="0"/>
                  </a:cxn>
                  <a:cxn ang="0">
                    <a:pos x="0" y="0"/>
                  </a:cxn>
                  <a:cxn ang="0">
                    <a:pos x="0" y="218"/>
                  </a:cxn>
                  <a:cxn ang="0">
                    <a:pos x="38" y="218"/>
                  </a:cxn>
                  <a:cxn ang="0">
                    <a:pos x="38" y="256"/>
                  </a:cxn>
                  <a:cxn ang="0">
                    <a:pos x="76" y="256"/>
                  </a:cxn>
                  <a:cxn ang="0">
                    <a:pos x="76" y="296"/>
                  </a:cxn>
                  <a:cxn ang="0">
                    <a:pos x="378" y="296"/>
                  </a:cxn>
                  <a:cxn ang="0">
                    <a:pos x="378" y="76"/>
                  </a:cxn>
                  <a:cxn ang="0">
                    <a:pos x="338" y="76"/>
                  </a:cxn>
                  <a:cxn ang="0">
                    <a:pos x="24" y="194"/>
                  </a:cxn>
                  <a:cxn ang="0">
                    <a:pos x="24" y="24"/>
                  </a:cxn>
                  <a:cxn ang="0">
                    <a:pos x="276" y="24"/>
                  </a:cxn>
                  <a:cxn ang="0">
                    <a:pos x="276" y="194"/>
                  </a:cxn>
                  <a:cxn ang="0">
                    <a:pos x="24" y="194"/>
                  </a:cxn>
                  <a:cxn ang="0">
                    <a:pos x="62" y="232"/>
                  </a:cxn>
                  <a:cxn ang="0">
                    <a:pos x="62" y="218"/>
                  </a:cxn>
                  <a:cxn ang="0">
                    <a:pos x="300" y="218"/>
                  </a:cxn>
                  <a:cxn ang="0">
                    <a:pos x="300" y="62"/>
                  </a:cxn>
                  <a:cxn ang="0">
                    <a:pos x="314" y="62"/>
                  </a:cxn>
                  <a:cxn ang="0">
                    <a:pos x="314" y="232"/>
                  </a:cxn>
                  <a:cxn ang="0">
                    <a:pos x="62" y="232"/>
                  </a:cxn>
                  <a:cxn ang="0">
                    <a:pos x="353" y="272"/>
                  </a:cxn>
                  <a:cxn ang="0">
                    <a:pos x="100" y="272"/>
                  </a:cxn>
                  <a:cxn ang="0">
                    <a:pos x="100" y="256"/>
                  </a:cxn>
                  <a:cxn ang="0">
                    <a:pos x="338" y="256"/>
                  </a:cxn>
                  <a:cxn ang="0">
                    <a:pos x="338" y="100"/>
                  </a:cxn>
                  <a:cxn ang="0">
                    <a:pos x="353" y="100"/>
                  </a:cxn>
                  <a:cxn ang="0">
                    <a:pos x="353" y="272"/>
                  </a:cxn>
                </a:cxnLst>
                <a:rect l="0" t="0" r="r" b="b"/>
                <a:pathLst>
                  <a:path w="378" h="296">
                    <a:moveTo>
                      <a:pt x="338" y="76"/>
                    </a:moveTo>
                    <a:lnTo>
                      <a:pt x="338" y="38"/>
                    </a:lnTo>
                    <a:lnTo>
                      <a:pt x="300" y="38"/>
                    </a:lnTo>
                    <a:lnTo>
                      <a:pt x="300" y="0"/>
                    </a:lnTo>
                    <a:lnTo>
                      <a:pt x="0" y="0"/>
                    </a:lnTo>
                    <a:lnTo>
                      <a:pt x="0" y="218"/>
                    </a:lnTo>
                    <a:lnTo>
                      <a:pt x="38" y="218"/>
                    </a:lnTo>
                    <a:lnTo>
                      <a:pt x="38" y="256"/>
                    </a:lnTo>
                    <a:lnTo>
                      <a:pt x="76" y="256"/>
                    </a:lnTo>
                    <a:lnTo>
                      <a:pt x="76" y="296"/>
                    </a:lnTo>
                    <a:lnTo>
                      <a:pt x="378" y="296"/>
                    </a:lnTo>
                    <a:lnTo>
                      <a:pt x="378" y="76"/>
                    </a:lnTo>
                    <a:lnTo>
                      <a:pt x="338" y="76"/>
                    </a:lnTo>
                    <a:close/>
                    <a:moveTo>
                      <a:pt x="24" y="194"/>
                    </a:moveTo>
                    <a:lnTo>
                      <a:pt x="24" y="24"/>
                    </a:lnTo>
                    <a:lnTo>
                      <a:pt x="276" y="24"/>
                    </a:lnTo>
                    <a:lnTo>
                      <a:pt x="276" y="194"/>
                    </a:lnTo>
                    <a:lnTo>
                      <a:pt x="24" y="194"/>
                    </a:lnTo>
                    <a:close/>
                    <a:moveTo>
                      <a:pt x="62" y="232"/>
                    </a:moveTo>
                    <a:lnTo>
                      <a:pt x="62" y="218"/>
                    </a:lnTo>
                    <a:lnTo>
                      <a:pt x="300" y="218"/>
                    </a:lnTo>
                    <a:lnTo>
                      <a:pt x="300" y="62"/>
                    </a:lnTo>
                    <a:lnTo>
                      <a:pt x="314" y="62"/>
                    </a:lnTo>
                    <a:lnTo>
                      <a:pt x="314" y="232"/>
                    </a:lnTo>
                    <a:lnTo>
                      <a:pt x="62" y="232"/>
                    </a:lnTo>
                    <a:close/>
                    <a:moveTo>
                      <a:pt x="353" y="272"/>
                    </a:moveTo>
                    <a:lnTo>
                      <a:pt x="100" y="272"/>
                    </a:lnTo>
                    <a:lnTo>
                      <a:pt x="100" y="256"/>
                    </a:lnTo>
                    <a:lnTo>
                      <a:pt x="338" y="256"/>
                    </a:lnTo>
                    <a:lnTo>
                      <a:pt x="338" y="100"/>
                    </a:lnTo>
                    <a:lnTo>
                      <a:pt x="353" y="100"/>
                    </a:lnTo>
                    <a:lnTo>
                      <a:pt x="353" y="272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cxnSp>
          <p:nvCxnSpPr>
            <p:cNvPr id="17" name="直接连接符 16">
              <a:extLst>
                <a:ext uri="{FF2B5EF4-FFF2-40B4-BE49-F238E27FC236}">
                  <a16:creationId xmlns:a16="http://schemas.microsoft.com/office/drawing/2014/main" id="{94F4246F-120B-4397-973E-15DC256EC5C8}"/>
                </a:ext>
              </a:extLst>
            </p:cNvPr>
            <p:cNvCxnSpPr>
              <a:cxnSpLocks/>
            </p:cNvCxnSpPr>
            <p:nvPr/>
          </p:nvCxnSpPr>
          <p:spPr>
            <a:xfrm>
              <a:off x="9331325" y="3660930"/>
              <a:ext cx="2187575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8" name="išļïḓé">
              <a:extLst>
                <a:ext uri="{FF2B5EF4-FFF2-40B4-BE49-F238E27FC236}">
                  <a16:creationId xmlns:a16="http://schemas.microsoft.com/office/drawing/2014/main" id="{BCD3162B-C664-4784-B435-107AD9CB2F75}"/>
                </a:ext>
              </a:extLst>
            </p:cNvPr>
            <p:cNvGrpSpPr/>
            <p:nvPr/>
          </p:nvGrpSpPr>
          <p:grpSpPr>
            <a:xfrm>
              <a:off x="8505825" y="1444561"/>
              <a:ext cx="3013075" cy="1316618"/>
              <a:chOff x="660400" y="1447800"/>
              <a:chExt cx="3031978" cy="1316618"/>
            </a:xfrm>
          </p:grpSpPr>
          <p:sp>
            <p:nvSpPr>
              <p:cNvPr id="28" name="îṩ1íḍè">
                <a:extLst>
                  <a:ext uri="{FF2B5EF4-FFF2-40B4-BE49-F238E27FC236}">
                    <a16:creationId xmlns:a16="http://schemas.microsoft.com/office/drawing/2014/main" id="{8DF307AD-84EB-4CA5-ADE1-AE9153B906D2}"/>
                  </a:ext>
                </a:extLst>
              </p:cNvPr>
              <p:cNvSpPr/>
              <p:nvPr/>
            </p:nvSpPr>
            <p:spPr bwMode="auto">
              <a:xfrm>
                <a:off x="660400" y="1984232"/>
                <a:ext cx="3031978" cy="78018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0000" tIns="46800" rIns="90000" bIns="46800" anchor="t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r">
                  <a:lnSpc>
                    <a:spcPct val="120000"/>
                  </a:lnSpc>
                </a:pPr>
                <a:r>
                  <a:rPr lang="zh-CN" altLang="en-US" sz="1100" dirty="0"/>
                  <a:t>使用</a:t>
                </a:r>
                <a:r>
                  <a:rPr lang="en-US" altLang="zh-CN" sz="1100" dirty="0"/>
                  <a:t>Vue</a:t>
                </a:r>
                <a:r>
                  <a:rPr lang="zh-CN" altLang="en-US" sz="1100" dirty="0"/>
                  <a:t>与</a:t>
                </a:r>
                <a:r>
                  <a:rPr lang="en-US" altLang="zh-CN" sz="1100" dirty="0"/>
                  <a:t>element-</a:t>
                </a:r>
                <a:r>
                  <a:rPr lang="en-US" altLang="zh-CN" sz="1100" dirty="0" err="1"/>
                  <a:t>ui</a:t>
                </a:r>
                <a:r>
                  <a:rPr lang="zh-CN" altLang="en-US" sz="1100" dirty="0"/>
                  <a:t>共同搭建前端页面</a:t>
                </a:r>
                <a:endParaRPr lang="en-US" altLang="zh-CN" sz="1100" dirty="0"/>
              </a:p>
            </p:txBody>
          </p:sp>
          <p:sp>
            <p:nvSpPr>
              <p:cNvPr id="29" name="ïṩḻîḍe">
                <a:extLst>
                  <a:ext uri="{FF2B5EF4-FFF2-40B4-BE49-F238E27FC236}">
                    <a16:creationId xmlns:a16="http://schemas.microsoft.com/office/drawing/2014/main" id="{427326B5-5306-4ECE-9E0D-C62AEBFEF3F2}"/>
                  </a:ext>
                </a:extLst>
              </p:cNvPr>
              <p:cNvSpPr txBox="1"/>
              <p:nvPr/>
            </p:nvSpPr>
            <p:spPr bwMode="auto">
              <a:xfrm>
                <a:off x="660400" y="1447800"/>
                <a:ext cx="3031978" cy="53643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90000" tIns="46800" rIns="90000" bIns="46800" anchor="b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r">
                  <a:spcBef>
                    <a:spcPct val="0"/>
                  </a:spcBef>
                </a:pPr>
                <a:r>
                  <a:rPr lang="zh-CN" altLang="en-US" b="1" dirty="0"/>
                  <a:t>设计前端</a:t>
                </a:r>
              </a:p>
            </p:txBody>
          </p:sp>
        </p:grpSp>
        <p:grpSp>
          <p:nvGrpSpPr>
            <p:cNvPr id="19" name="ïṣḷîḑe">
              <a:extLst>
                <a:ext uri="{FF2B5EF4-FFF2-40B4-BE49-F238E27FC236}">
                  <a16:creationId xmlns:a16="http://schemas.microsoft.com/office/drawing/2014/main" id="{7C9670ED-11CF-43CC-A736-6DCE1FEF0644}"/>
                </a:ext>
              </a:extLst>
            </p:cNvPr>
            <p:cNvGrpSpPr/>
            <p:nvPr/>
          </p:nvGrpSpPr>
          <p:grpSpPr>
            <a:xfrm>
              <a:off x="660305" y="1444561"/>
              <a:ext cx="3013075" cy="1316618"/>
              <a:chOff x="660400" y="1447800"/>
              <a:chExt cx="3031978" cy="1316618"/>
            </a:xfrm>
          </p:grpSpPr>
          <p:sp>
            <p:nvSpPr>
              <p:cNvPr id="26" name="îṣḻidê">
                <a:extLst>
                  <a:ext uri="{FF2B5EF4-FFF2-40B4-BE49-F238E27FC236}">
                    <a16:creationId xmlns:a16="http://schemas.microsoft.com/office/drawing/2014/main" id="{246ABA1A-AA47-45F1-83A6-3D92A27A81DC}"/>
                  </a:ext>
                </a:extLst>
              </p:cNvPr>
              <p:cNvSpPr/>
              <p:nvPr/>
            </p:nvSpPr>
            <p:spPr bwMode="auto">
              <a:xfrm>
                <a:off x="660400" y="1984232"/>
                <a:ext cx="3031978" cy="78018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0000" tIns="46800" rIns="90000" bIns="46800" anchor="t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20000"/>
                  </a:lnSpc>
                </a:pPr>
                <a:r>
                  <a:rPr lang="zh-CN" altLang="en-US" sz="1100" dirty="0"/>
                  <a:t>建立仓储数据库与用户数据库简历一对一关系</a:t>
                </a:r>
                <a:endParaRPr lang="en-US" altLang="zh-CN" sz="1100" dirty="0"/>
              </a:p>
            </p:txBody>
          </p:sp>
          <p:sp>
            <p:nvSpPr>
              <p:cNvPr id="27" name="iśľíde">
                <a:extLst>
                  <a:ext uri="{FF2B5EF4-FFF2-40B4-BE49-F238E27FC236}">
                    <a16:creationId xmlns:a16="http://schemas.microsoft.com/office/drawing/2014/main" id="{0B7FCD91-38B7-4AA6-8006-31785947CE56}"/>
                  </a:ext>
                </a:extLst>
              </p:cNvPr>
              <p:cNvSpPr txBox="1"/>
              <p:nvPr/>
            </p:nvSpPr>
            <p:spPr bwMode="auto">
              <a:xfrm>
                <a:off x="660400" y="1447800"/>
                <a:ext cx="3031978" cy="53643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90000" tIns="46800" rIns="90000" bIns="46800" anchor="b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spcBef>
                    <a:spcPct val="0"/>
                  </a:spcBef>
                </a:pPr>
                <a:r>
                  <a:rPr lang="zh-CN" altLang="en-US" b="1" dirty="0"/>
                  <a:t>设计数据库</a:t>
                </a:r>
              </a:p>
            </p:txBody>
          </p:sp>
        </p:grpSp>
        <p:grpSp>
          <p:nvGrpSpPr>
            <p:cNvPr id="20" name="ïS1îḋê">
              <a:extLst>
                <a:ext uri="{FF2B5EF4-FFF2-40B4-BE49-F238E27FC236}">
                  <a16:creationId xmlns:a16="http://schemas.microsoft.com/office/drawing/2014/main" id="{09CA47E6-24E6-42F3-862C-3A5B0BF58694}"/>
                </a:ext>
              </a:extLst>
            </p:cNvPr>
            <p:cNvGrpSpPr/>
            <p:nvPr/>
          </p:nvGrpSpPr>
          <p:grpSpPr>
            <a:xfrm>
              <a:off x="8505825" y="4561605"/>
              <a:ext cx="3013075" cy="1316618"/>
              <a:chOff x="660400" y="1447800"/>
              <a:chExt cx="3031978" cy="1316618"/>
            </a:xfrm>
          </p:grpSpPr>
          <p:sp>
            <p:nvSpPr>
              <p:cNvPr id="24" name="ïṡ1îḋè">
                <a:extLst>
                  <a:ext uri="{FF2B5EF4-FFF2-40B4-BE49-F238E27FC236}">
                    <a16:creationId xmlns:a16="http://schemas.microsoft.com/office/drawing/2014/main" id="{17699395-8E69-4BCD-827D-2D7E32777A3E}"/>
                  </a:ext>
                </a:extLst>
              </p:cNvPr>
              <p:cNvSpPr/>
              <p:nvPr/>
            </p:nvSpPr>
            <p:spPr bwMode="auto">
              <a:xfrm>
                <a:off x="660400" y="1984232"/>
                <a:ext cx="3031978" cy="78018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0000" tIns="46800" rIns="90000" bIns="46800" anchor="t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r">
                  <a:lnSpc>
                    <a:spcPct val="120000"/>
                  </a:lnSpc>
                </a:pPr>
                <a:r>
                  <a:rPr lang="zh-CN" altLang="en-US" sz="1100" dirty="0"/>
                  <a:t>建立一键部署包方便后期维护与使用</a:t>
                </a:r>
                <a:endParaRPr lang="en-US" altLang="zh-CN" sz="1100" dirty="0"/>
              </a:p>
            </p:txBody>
          </p:sp>
          <p:sp>
            <p:nvSpPr>
              <p:cNvPr id="25" name="iśļiďè">
                <a:extLst>
                  <a:ext uri="{FF2B5EF4-FFF2-40B4-BE49-F238E27FC236}">
                    <a16:creationId xmlns:a16="http://schemas.microsoft.com/office/drawing/2014/main" id="{98EE0938-FE66-4E43-A8F6-410CA0F005BE}"/>
                  </a:ext>
                </a:extLst>
              </p:cNvPr>
              <p:cNvSpPr txBox="1"/>
              <p:nvPr/>
            </p:nvSpPr>
            <p:spPr bwMode="auto">
              <a:xfrm>
                <a:off x="660400" y="1447800"/>
                <a:ext cx="3031978" cy="53643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90000" tIns="46800" rIns="90000" bIns="46800" anchor="b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r">
                  <a:spcBef>
                    <a:spcPct val="0"/>
                  </a:spcBef>
                </a:pPr>
                <a:r>
                  <a:rPr lang="zh-CN" altLang="en-US" b="1" dirty="0"/>
                  <a:t>部署</a:t>
                </a:r>
              </a:p>
            </p:txBody>
          </p:sp>
        </p:grpSp>
        <p:grpSp>
          <p:nvGrpSpPr>
            <p:cNvPr id="21" name="îṣ1ide">
              <a:extLst>
                <a:ext uri="{FF2B5EF4-FFF2-40B4-BE49-F238E27FC236}">
                  <a16:creationId xmlns:a16="http://schemas.microsoft.com/office/drawing/2014/main" id="{51EAED07-0ED0-43CD-B5AC-58B68C81B348}"/>
                </a:ext>
              </a:extLst>
            </p:cNvPr>
            <p:cNvGrpSpPr/>
            <p:nvPr/>
          </p:nvGrpSpPr>
          <p:grpSpPr>
            <a:xfrm>
              <a:off x="660305" y="4561605"/>
              <a:ext cx="3013075" cy="1316618"/>
              <a:chOff x="660400" y="1447800"/>
              <a:chExt cx="3031978" cy="1316618"/>
            </a:xfrm>
          </p:grpSpPr>
          <p:sp>
            <p:nvSpPr>
              <p:cNvPr id="22" name="î$ḷîḍe">
                <a:extLst>
                  <a:ext uri="{FF2B5EF4-FFF2-40B4-BE49-F238E27FC236}">
                    <a16:creationId xmlns:a16="http://schemas.microsoft.com/office/drawing/2014/main" id="{94E87DFB-8C0B-4A42-9056-F8DAF99A1BCE}"/>
                  </a:ext>
                </a:extLst>
              </p:cNvPr>
              <p:cNvSpPr/>
              <p:nvPr/>
            </p:nvSpPr>
            <p:spPr bwMode="auto">
              <a:xfrm>
                <a:off x="660400" y="1984232"/>
                <a:ext cx="3031978" cy="78018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0000" tIns="46800" rIns="90000" bIns="46800" anchor="t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20000"/>
                  </a:lnSpc>
                </a:pPr>
                <a:r>
                  <a:rPr lang="zh-CN" altLang="en-US" sz="1100" dirty="0"/>
                  <a:t>使用</a:t>
                </a:r>
                <a:r>
                  <a:rPr lang="en-US" altLang="zh-CN" sz="1100" dirty="0"/>
                  <a:t>PHP</a:t>
                </a:r>
                <a:r>
                  <a:rPr lang="zh-CN" altLang="en-US" sz="1100" dirty="0"/>
                  <a:t>解析前端请求并与数据库沟通</a:t>
                </a:r>
                <a:endParaRPr lang="en-US" altLang="zh-CN" sz="1100" dirty="0"/>
              </a:p>
            </p:txBody>
          </p:sp>
          <p:sp>
            <p:nvSpPr>
              <p:cNvPr id="23" name="îṣḻîde">
                <a:extLst>
                  <a:ext uri="{FF2B5EF4-FFF2-40B4-BE49-F238E27FC236}">
                    <a16:creationId xmlns:a16="http://schemas.microsoft.com/office/drawing/2014/main" id="{1D88580F-2CE8-401D-B995-2D9B3DE5E7EA}"/>
                  </a:ext>
                </a:extLst>
              </p:cNvPr>
              <p:cNvSpPr txBox="1"/>
              <p:nvPr/>
            </p:nvSpPr>
            <p:spPr bwMode="auto">
              <a:xfrm>
                <a:off x="660400" y="1447800"/>
                <a:ext cx="3031978" cy="53643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90000" tIns="46800" rIns="90000" bIns="46800" anchor="b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spcBef>
                    <a:spcPct val="0"/>
                  </a:spcBef>
                </a:pPr>
                <a:r>
                  <a:rPr lang="en-US" altLang="zh-CN" b="1" dirty="0"/>
                  <a:t>PHP</a:t>
                </a:r>
                <a:endParaRPr lang="zh-CN" altLang="en-US" b="1" dirty="0"/>
              </a:p>
            </p:txBody>
          </p:sp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65254072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论文总结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endParaRPr lang="zh-CN" altLang="en-US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3044772" y="2667679"/>
            <a:ext cx="1861056" cy="1618118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16200000" scaled="0"/>
                </a:gradFill>
                <a:latin typeface="Impact" panose="020B0806030902050204" pitchFamily="34" charset="0"/>
                <a:cs typeface="Arial" panose="020B0604020202020204" pitchFamily="34" charset="0"/>
              </a:rPr>
              <a:t>/04</a:t>
            </a:r>
            <a:endParaRPr lang="zh-CN" altLang="en-US" spc="100" dirty="0">
              <a:gradFill>
                <a:gsLst>
                  <a:gs pos="0">
                    <a:schemeClr val="accent1"/>
                  </a:gs>
                  <a:gs pos="100000">
                    <a:schemeClr val="accent2"/>
                  </a:gs>
                </a:gsLst>
                <a:lin ang="16200000" scaled="0"/>
              </a:gra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1888419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论文总结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2</a:t>
            </a:fld>
            <a:endParaRPr lang="zh-CN" altLang="en-US"/>
          </a:p>
        </p:txBody>
      </p:sp>
      <p:grpSp>
        <p:nvGrpSpPr>
          <p:cNvPr id="5" name="#271896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/>
        </p:nvGrpSpPr>
        <p:grpSpPr>
          <a:xfrm>
            <a:off x="664841" y="1467032"/>
            <a:ext cx="10847195" cy="4288309"/>
            <a:chOff x="664841" y="1467032"/>
            <a:chExt cx="10847195" cy="4288309"/>
          </a:xfrm>
        </p:grpSpPr>
        <p:sp>
          <p:nvSpPr>
            <p:cNvPr id="6" name="îṡḻîdè">
              <a:extLst>
                <a:ext uri="{FF2B5EF4-FFF2-40B4-BE49-F238E27FC236}">
                  <a16:creationId xmlns:a16="http://schemas.microsoft.com/office/drawing/2014/main" id="{FADC7B4E-8F41-41F1-99CE-6C9626E9FA6B}"/>
                </a:ext>
              </a:extLst>
            </p:cNvPr>
            <p:cNvSpPr/>
            <p:nvPr/>
          </p:nvSpPr>
          <p:spPr bwMode="auto">
            <a:xfrm rot="21053145" flipH="1">
              <a:off x="5771668" y="1761564"/>
              <a:ext cx="2431618" cy="1862478"/>
            </a:xfrm>
            <a:custGeom>
              <a:avLst/>
              <a:gdLst>
                <a:gd name="T0" fmla="*/ 5 w 543"/>
                <a:gd name="T1" fmla="*/ 416 h 416"/>
                <a:gd name="T2" fmla="*/ 151 w 543"/>
                <a:gd name="T3" fmla="*/ 397 h 416"/>
                <a:gd name="T4" fmla="*/ 173 w 543"/>
                <a:gd name="T5" fmla="*/ 339 h 416"/>
                <a:gd name="T6" fmla="*/ 234 w 543"/>
                <a:gd name="T7" fmla="*/ 305 h 416"/>
                <a:gd name="T8" fmla="*/ 302 w 543"/>
                <a:gd name="T9" fmla="*/ 322 h 416"/>
                <a:gd name="T10" fmla="*/ 339 w 543"/>
                <a:gd name="T11" fmla="*/ 372 h 416"/>
                <a:gd name="T12" fmla="*/ 491 w 543"/>
                <a:gd name="T13" fmla="*/ 352 h 416"/>
                <a:gd name="T14" fmla="*/ 469 w 543"/>
                <a:gd name="T15" fmla="*/ 188 h 416"/>
                <a:gd name="T16" fmla="*/ 477 w 543"/>
                <a:gd name="T17" fmla="*/ 186 h 416"/>
                <a:gd name="T18" fmla="*/ 538 w 543"/>
                <a:gd name="T19" fmla="*/ 99 h 416"/>
                <a:gd name="T20" fmla="*/ 456 w 543"/>
                <a:gd name="T21" fmla="*/ 29 h 416"/>
                <a:gd name="T22" fmla="*/ 448 w 543"/>
                <a:gd name="T23" fmla="*/ 30 h 416"/>
                <a:gd name="T24" fmla="*/ 445 w 543"/>
                <a:gd name="T25" fmla="*/ 3 h 416"/>
                <a:gd name="T26" fmla="*/ 411 w 543"/>
                <a:gd name="T27" fmla="*/ 0 h 416"/>
                <a:gd name="T28" fmla="*/ 310 w 543"/>
                <a:gd name="T29" fmla="*/ 35 h 416"/>
                <a:gd name="T30" fmla="*/ 300 w 543"/>
                <a:gd name="T31" fmla="*/ 35 h 416"/>
                <a:gd name="T32" fmla="*/ 177 w 543"/>
                <a:gd name="T33" fmla="*/ 91 h 416"/>
                <a:gd name="T34" fmla="*/ 69 w 543"/>
                <a:gd name="T35" fmla="*/ 217 h 416"/>
                <a:gd name="T36" fmla="*/ 27 w 543"/>
                <a:gd name="T37" fmla="*/ 278 h 416"/>
                <a:gd name="T38" fmla="*/ 28 w 543"/>
                <a:gd name="T39" fmla="*/ 287 h 416"/>
                <a:gd name="T40" fmla="*/ 0 w 543"/>
                <a:gd name="T41" fmla="*/ 377 h 416"/>
                <a:gd name="T42" fmla="*/ 5 w 543"/>
                <a:gd name="T43" fmla="*/ 416 h 4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43" h="416">
                  <a:moveTo>
                    <a:pt x="5" y="416"/>
                  </a:moveTo>
                  <a:cubicBezTo>
                    <a:pt x="151" y="397"/>
                    <a:pt x="151" y="397"/>
                    <a:pt x="151" y="397"/>
                  </a:cubicBezTo>
                  <a:cubicBezTo>
                    <a:pt x="151" y="376"/>
                    <a:pt x="159" y="355"/>
                    <a:pt x="173" y="339"/>
                  </a:cubicBezTo>
                  <a:cubicBezTo>
                    <a:pt x="189" y="320"/>
                    <a:pt x="210" y="308"/>
                    <a:pt x="234" y="305"/>
                  </a:cubicBezTo>
                  <a:cubicBezTo>
                    <a:pt x="258" y="302"/>
                    <a:pt x="282" y="308"/>
                    <a:pt x="302" y="322"/>
                  </a:cubicBezTo>
                  <a:cubicBezTo>
                    <a:pt x="320" y="334"/>
                    <a:pt x="333" y="352"/>
                    <a:pt x="339" y="372"/>
                  </a:cubicBezTo>
                  <a:cubicBezTo>
                    <a:pt x="491" y="352"/>
                    <a:pt x="491" y="352"/>
                    <a:pt x="491" y="352"/>
                  </a:cubicBezTo>
                  <a:cubicBezTo>
                    <a:pt x="469" y="188"/>
                    <a:pt x="469" y="188"/>
                    <a:pt x="469" y="188"/>
                  </a:cubicBezTo>
                  <a:cubicBezTo>
                    <a:pt x="477" y="186"/>
                    <a:pt x="477" y="186"/>
                    <a:pt x="477" y="186"/>
                  </a:cubicBezTo>
                  <a:cubicBezTo>
                    <a:pt x="517" y="177"/>
                    <a:pt x="543" y="140"/>
                    <a:pt x="538" y="99"/>
                  </a:cubicBezTo>
                  <a:cubicBezTo>
                    <a:pt x="533" y="57"/>
                    <a:pt x="497" y="28"/>
                    <a:pt x="456" y="29"/>
                  </a:cubicBezTo>
                  <a:cubicBezTo>
                    <a:pt x="448" y="30"/>
                    <a:pt x="448" y="30"/>
                    <a:pt x="448" y="30"/>
                  </a:cubicBezTo>
                  <a:cubicBezTo>
                    <a:pt x="445" y="3"/>
                    <a:pt x="445" y="3"/>
                    <a:pt x="445" y="3"/>
                  </a:cubicBezTo>
                  <a:cubicBezTo>
                    <a:pt x="434" y="1"/>
                    <a:pt x="423" y="0"/>
                    <a:pt x="411" y="0"/>
                  </a:cubicBezTo>
                  <a:cubicBezTo>
                    <a:pt x="373" y="0"/>
                    <a:pt x="338" y="13"/>
                    <a:pt x="310" y="35"/>
                  </a:cubicBezTo>
                  <a:cubicBezTo>
                    <a:pt x="306" y="35"/>
                    <a:pt x="303" y="35"/>
                    <a:pt x="300" y="35"/>
                  </a:cubicBezTo>
                  <a:cubicBezTo>
                    <a:pt x="251" y="35"/>
                    <a:pt x="206" y="57"/>
                    <a:pt x="177" y="91"/>
                  </a:cubicBezTo>
                  <a:cubicBezTo>
                    <a:pt x="116" y="102"/>
                    <a:pt x="71" y="154"/>
                    <a:pt x="69" y="217"/>
                  </a:cubicBezTo>
                  <a:cubicBezTo>
                    <a:pt x="45" y="227"/>
                    <a:pt x="27" y="250"/>
                    <a:pt x="27" y="278"/>
                  </a:cubicBezTo>
                  <a:cubicBezTo>
                    <a:pt x="27" y="281"/>
                    <a:pt x="28" y="284"/>
                    <a:pt x="28" y="287"/>
                  </a:cubicBezTo>
                  <a:cubicBezTo>
                    <a:pt x="10" y="313"/>
                    <a:pt x="0" y="344"/>
                    <a:pt x="0" y="377"/>
                  </a:cubicBezTo>
                  <a:cubicBezTo>
                    <a:pt x="0" y="390"/>
                    <a:pt x="2" y="403"/>
                    <a:pt x="5" y="416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id-ID" sz="1798"/>
            </a:p>
          </p:txBody>
        </p:sp>
        <p:sp>
          <p:nvSpPr>
            <p:cNvPr id="7" name="isľïḋé">
              <a:extLst>
                <a:ext uri="{FF2B5EF4-FFF2-40B4-BE49-F238E27FC236}">
                  <a16:creationId xmlns:a16="http://schemas.microsoft.com/office/drawing/2014/main" id="{2F2699FF-322D-4EEF-B6B3-5691EEB6282F}"/>
                </a:ext>
              </a:extLst>
            </p:cNvPr>
            <p:cNvSpPr/>
            <p:nvPr/>
          </p:nvSpPr>
          <p:spPr bwMode="auto">
            <a:xfrm rot="21053145" flipH="1">
              <a:off x="6022147" y="3159562"/>
              <a:ext cx="2359769" cy="1860589"/>
            </a:xfrm>
            <a:custGeom>
              <a:avLst/>
              <a:gdLst>
                <a:gd name="T0" fmla="*/ 524 w 527"/>
                <a:gd name="T1" fmla="*/ 386 h 416"/>
                <a:gd name="T2" fmla="*/ 466 w 527"/>
                <a:gd name="T3" fmla="*/ 363 h 416"/>
                <a:gd name="T4" fmla="*/ 433 w 527"/>
                <a:gd name="T5" fmla="*/ 302 h 416"/>
                <a:gd name="T6" fmla="*/ 450 w 527"/>
                <a:gd name="T7" fmla="*/ 234 h 416"/>
                <a:gd name="T8" fmla="*/ 500 w 527"/>
                <a:gd name="T9" fmla="*/ 198 h 416"/>
                <a:gd name="T10" fmla="*/ 481 w 527"/>
                <a:gd name="T11" fmla="*/ 53 h 416"/>
                <a:gd name="T12" fmla="*/ 316 w 527"/>
                <a:gd name="T13" fmla="*/ 75 h 416"/>
                <a:gd name="T14" fmla="*/ 314 w 527"/>
                <a:gd name="T15" fmla="*/ 67 h 416"/>
                <a:gd name="T16" fmla="*/ 226 w 527"/>
                <a:gd name="T17" fmla="*/ 6 h 416"/>
                <a:gd name="T18" fmla="*/ 157 w 527"/>
                <a:gd name="T19" fmla="*/ 88 h 416"/>
                <a:gd name="T20" fmla="*/ 158 w 527"/>
                <a:gd name="T21" fmla="*/ 95 h 416"/>
                <a:gd name="T22" fmla="*/ 0 w 527"/>
                <a:gd name="T23" fmla="*/ 116 h 416"/>
                <a:gd name="T24" fmla="*/ 62 w 527"/>
                <a:gd name="T25" fmla="*/ 193 h 416"/>
                <a:gd name="T26" fmla="*/ 180 w 527"/>
                <a:gd name="T27" fmla="*/ 278 h 416"/>
                <a:gd name="T28" fmla="*/ 239 w 527"/>
                <a:gd name="T29" fmla="*/ 263 h 416"/>
                <a:gd name="T30" fmla="*/ 315 w 527"/>
                <a:gd name="T31" fmla="*/ 309 h 416"/>
                <a:gd name="T32" fmla="*/ 469 w 527"/>
                <a:gd name="T33" fmla="*/ 416 h 416"/>
                <a:gd name="T34" fmla="*/ 527 w 527"/>
                <a:gd name="T35" fmla="*/ 405 h 416"/>
                <a:gd name="T36" fmla="*/ 524 w 527"/>
                <a:gd name="T37" fmla="*/ 386 h 4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27" h="416">
                  <a:moveTo>
                    <a:pt x="524" y="386"/>
                  </a:moveTo>
                  <a:cubicBezTo>
                    <a:pt x="503" y="385"/>
                    <a:pt x="483" y="377"/>
                    <a:pt x="466" y="363"/>
                  </a:cubicBezTo>
                  <a:cubicBezTo>
                    <a:pt x="448" y="348"/>
                    <a:pt x="436" y="326"/>
                    <a:pt x="433" y="302"/>
                  </a:cubicBezTo>
                  <a:cubicBezTo>
                    <a:pt x="430" y="278"/>
                    <a:pt x="436" y="254"/>
                    <a:pt x="450" y="234"/>
                  </a:cubicBezTo>
                  <a:cubicBezTo>
                    <a:pt x="462" y="217"/>
                    <a:pt x="479" y="204"/>
                    <a:pt x="500" y="198"/>
                  </a:cubicBezTo>
                  <a:cubicBezTo>
                    <a:pt x="481" y="53"/>
                    <a:pt x="481" y="53"/>
                    <a:pt x="481" y="53"/>
                  </a:cubicBezTo>
                  <a:cubicBezTo>
                    <a:pt x="316" y="75"/>
                    <a:pt x="316" y="75"/>
                    <a:pt x="316" y="75"/>
                  </a:cubicBezTo>
                  <a:cubicBezTo>
                    <a:pt x="314" y="67"/>
                    <a:pt x="314" y="67"/>
                    <a:pt x="314" y="67"/>
                  </a:cubicBezTo>
                  <a:cubicBezTo>
                    <a:pt x="305" y="27"/>
                    <a:pt x="268" y="0"/>
                    <a:pt x="226" y="6"/>
                  </a:cubicBezTo>
                  <a:cubicBezTo>
                    <a:pt x="185" y="11"/>
                    <a:pt x="156" y="46"/>
                    <a:pt x="157" y="88"/>
                  </a:cubicBezTo>
                  <a:cubicBezTo>
                    <a:pt x="158" y="95"/>
                    <a:pt x="158" y="95"/>
                    <a:pt x="158" y="95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12" y="148"/>
                    <a:pt x="34" y="175"/>
                    <a:pt x="62" y="193"/>
                  </a:cubicBezTo>
                  <a:cubicBezTo>
                    <a:pt x="79" y="242"/>
                    <a:pt x="125" y="278"/>
                    <a:pt x="180" y="278"/>
                  </a:cubicBezTo>
                  <a:cubicBezTo>
                    <a:pt x="202" y="278"/>
                    <a:pt x="222" y="272"/>
                    <a:pt x="239" y="263"/>
                  </a:cubicBezTo>
                  <a:cubicBezTo>
                    <a:pt x="258" y="286"/>
                    <a:pt x="284" y="303"/>
                    <a:pt x="315" y="309"/>
                  </a:cubicBezTo>
                  <a:cubicBezTo>
                    <a:pt x="338" y="372"/>
                    <a:pt x="398" y="416"/>
                    <a:pt x="469" y="416"/>
                  </a:cubicBezTo>
                  <a:cubicBezTo>
                    <a:pt x="489" y="416"/>
                    <a:pt x="509" y="412"/>
                    <a:pt x="527" y="405"/>
                  </a:cubicBezTo>
                  <a:lnTo>
                    <a:pt x="524" y="386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id-ID" sz="1798"/>
            </a:p>
          </p:txBody>
        </p:sp>
        <p:sp>
          <p:nvSpPr>
            <p:cNvPr id="8" name="îŝlïďè">
              <a:extLst>
                <a:ext uri="{FF2B5EF4-FFF2-40B4-BE49-F238E27FC236}">
                  <a16:creationId xmlns:a16="http://schemas.microsoft.com/office/drawing/2014/main" id="{F81EE1A8-3EE8-4BCC-9AFE-8A535457974D}"/>
                </a:ext>
              </a:extLst>
            </p:cNvPr>
            <p:cNvSpPr/>
            <p:nvPr/>
          </p:nvSpPr>
          <p:spPr bwMode="auto">
            <a:xfrm rot="21053145" flipH="1">
              <a:off x="3909705" y="3410699"/>
              <a:ext cx="2537506" cy="2344642"/>
            </a:xfrm>
            <a:custGeom>
              <a:avLst/>
              <a:gdLst>
                <a:gd name="T0" fmla="*/ 567 w 567"/>
                <a:gd name="T1" fmla="*/ 124 h 524"/>
                <a:gd name="T2" fmla="*/ 533 w 567"/>
                <a:gd name="T3" fmla="*/ 34 h 524"/>
                <a:gd name="T4" fmla="*/ 534 w 567"/>
                <a:gd name="T5" fmla="*/ 13 h 524"/>
                <a:gd name="T6" fmla="*/ 534 w 567"/>
                <a:gd name="T7" fmla="*/ 0 h 524"/>
                <a:gd name="T8" fmla="*/ 393 w 567"/>
                <a:gd name="T9" fmla="*/ 19 h 524"/>
                <a:gd name="T10" fmla="*/ 370 w 567"/>
                <a:gd name="T11" fmla="*/ 77 h 524"/>
                <a:gd name="T12" fmla="*/ 309 w 567"/>
                <a:gd name="T13" fmla="*/ 110 h 524"/>
                <a:gd name="T14" fmla="*/ 297 w 567"/>
                <a:gd name="T15" fmla="*/ 111 h 524"/>
                <a:gd name="T16" fmla="*/ 241 w 567"/>
                <a:gd name="T17" fmla="*/ 94 h 524"/>
                <a:gd name="T18" fmla="*/ 205 w 567"/>
                <a:gd name="T19" fmla="*/ 43 h 524"/>
                <a:gd name="T20" fmla="*/ 53 w 567"/>
                <a:gd name="T21" fmla="*/ 63 h 524"/>
                <a:gd name="T22" fmla="*/ 74 w 567"/>
                <a:gd name="T23" fmla="*/ 227 h 524"/>
                <a:gd name="T24" fmla="*/ 67 w 567"/>
                <a:gd name="T25" fmla="*/ 229 h 524"/>
                <a:gd name="T26" fmla="*/ 5 w 567"/>
                <a:gd name="T27" fmla="*/ 317 h 524"/>
                <a:gd name="T28" fmla="*/ 87 w 567"/>
                <a:gd name="T29" fmla="*/ 386 h 524"/>
                <a:gd name="T30" fmla="*/ 95 w 567"/>
                <a:gd name="T31" fmla="*/ 386 h 524"/>
                <a:gd name="T32" fmla="*/ 102 w 567"/>
                <a:gd name="T33" fmla="*/ 438 h 524"/>
                <a:gd name="T34" fmla="*/ 266 w 567"/>
                <a:gd name="T35" fmla="*/ 524 h 524"/>
                <a:gd name="T36" fmla="*/ 452 w 567"/>
                <a:gd name="T37" fmla="*/ 396 h 524"/>
                <a:gd name="T38" fmla="*/ 556 w 567"/>
                <a:gd name="T39" fmla="*/ 220 h 524"/>
                <a:gd name="T40" fmla="*/ 553 w 567"/>
                <a:gd name="T41" fmla="*/ 184 h 524"/>
                <a:gd name="T42" fmla="*/ 567 w 567"/>
                <a:gd name="T43" fmla="*/ 124 h 5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67" h="524">
                  <a:moveTo>
                    <a:pt x="567" y="124"/>
                  </a:moveTo>
                  <a:cubicBezTo>
                    <a:pt x="567" y="89"/>
                    <a:pt x="554" y="58"/>
                    <a:pt x="533" y="34"/>
                  </a:cubicBezTo>
                  <a:cubicBezTo>
                    <a:pt x="534" y="27"/>
                    <a:pt x="534" y="20"/>
                    <a:pt x="534" y="13"/>
                  </a:cubicBezTo>
                  <a:cubicBezTo>
                    <a:pt x="534" y="8"/>
                    <a:pt x="534" y="4"/>
                    <a:pt x="534" y="0"/>
                  </a:cubicBezTo>
                  <a:cubicBezTo>
                    <a:pt x="393" y="19"/>
                    <a:pt x="393" y="19"/>
                    <a:pt x="393" y="19"/>
                  </a:cubicBezTo>
                  <a:cubicBezTo>
                    <a:pt x="392" y="40"/>
                    <a:pt x="384" y="60"/>
                    <a:pt x="370" y="77"/>
                  </a:cubicBezTo>
                  <a:cubicBezTo>
                    <a:pt x="355" y="95"/>
                    <a:pt x="333" y="107"/>
                    <a:pt x="309" y="110"/>
                  </a:cubicBezTo>
                  <a:cubicBezTo>
                    <a:pt x="305" y="111"/>
                    <a:pt x="301" y="111"/>
                    <a:pt x="297" y="111"/>
                  </a:cubicBezTo>
                  <a:cubicBezTo>
                    <a:pt x="277" y="111"/>
                    <a:pt x="258" y="105"/>
                    <a:pt x="241" y="94"/>
                  </a:cubicBezTo>
                  <a:cubicBezTo>
                    <a:pt x="224" y="81"/>
                    <a:pt x="211" y="64"/>
                    <a:pt x="205" y="43"/>
                  </a:cubicBezTo>
                  <a:cubicBezTo>
                    <a:pt x="53" y="63"/>
                    <a:pt x="53" y="63"/>
                    <a:pt x="53" y="63"/>
                  </a:cubicBezTo>
                  <a:cubicBezTo>
                    <a:pt x="74" y="227"/>
                    <a:pt x="74" y="227"/>
                    <a:pt x="74" y="227"/>
                  </a:cubicBezTo>
                  <a:cubicBezTo>
                    <a:pt x="67" y="229"/>
                    <a:pt x="67" y="229"/>
                    <a:pt x="67" y="229"/>
                  </a:cubicBezTo>
                  <a:cubicBezTo>
                    <a:pt x="26" y="238"/>
                    <a:pt x="0" y="276"/>
                    <a:pt x="5" y="317"/>
                  </a:cubicBezTo>
                  <a:cubicBezTo>
                    <a:pt x="11" y="358"/>
                    <a:pt x="46" y="388"/>
                    <a:pt x="87" y="386"/>
                  </a:cubicBezTo>
                  <a:cubicBezTo>
                    <a:pt x="95" y="386"/>
                    <a:pt x="95" y="386"/>
                    <a:pt x="95" y="386"/>
                  </a:cubicBezTo>
                  <a:cubicBezTo>
                    <a:pt x="102" y="438"/>
                    <a:pt x="102" y="438"/>
                    <a:pt x="102" y="438"/>
                  </a:cubicBezTo>
                  <a:cubicBezTo>
                    <a:pt x="138" y="490"/>
                    <a:pt x="198" y="524"/>
                    <a:pt x="266" y="524"/>
                  </a:cubicBezTo>
                  <a:cubicBezTo>
                    <a:pt x="351" y="524"/>
                    <a:pt x="423" y="470"/>
                    <a:pt x="452" y="396"/>
                  </a:cubicBezTo>
                  <a:cubicBezTo>
                    <a:pt x="514" y="362"/>
                    <a:pt x="556" y="296"/>
                    <a:pt x="556" y="220"/>
                  </a:cubicBezTo>
                  <a:cubicBezTo>
                    <a:pt x="556" y="208"/>
                    <a:pt x="555" y="196"/>
                    <a:pt x="553" y="184"/>
                  </a:cubicBezTo>
                  <a:cubicBezTo>
                    <a:pt x="562" y="166"/>
                    <a:pt x="567" y="146"/>
                    <a:pt x="567" y="124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id-ID" sz="1798"/>
            </a:p>
          </p:txBody>
        </p:sp>
        <p:sp>
          <p:nvSpPr>
            <p:cNvPr id="9" name="îṡľîďê">
              <a:extLst>
                <a:ext uri="{FF2B5EF4-FFF2-40B4-BE49-F238E27FC236}">
                  <a16:creationId xmlns:a16="http://schemas.microsoft.com/office/drawing/2014/main" id="{20863842-5B8B-4D41-B93B-060B2611DD26}"/>
                </a:ext>
              </a:extLst>
            </p:cNvPr>
            <p:cNvSpPr/>
            <p:nvPr/>
          </p:nvSpPr>
          <p:spPr bwMode="auto">
            <a:xfrm rot="21053145" flipH="1">
              <a:off x="3810085" y="2046560"/>
              <a:ext cx="2344641" cy="1817098"/>
            </a:xfrm>
            <a:custGeom>
              <a:avLst/>
              <a:gdLst>
                <a:gd name="T0" fmla="*/ 2 w 524"/>
                <a:gd name="T1" fmla="*/ 21 h 406"/>
                <a:gd name="T2" fmla="*/ 60 w 524"/>
                <a:gd name="T3" fmla="*/ 43 h 406"/>
                <a:gd name="T4" fmla="*/ 94 w 524"/>
                <a:gd name="T5" fmla="*/ 104 h 406"/>
                <a:gd name="T6" fmla="*/ 77 w 524"/>
                <a:gd name="T7" fmla="*/ 172 h 406"/>
                <a:gd name="T8" fmla="*/ 27 w 524"/>
                <a:gd name="T9" fmla="*/ 209 h 406"/>
                <a:gd name="T10" fmla="*/ 46 w 524"/>
                <a:gd name="T11" fmla="*/ 353 h 406"/>
                <a:gd name="T12" fmla="*/ 210 w 524"/>
                <a:gd name="T13" fmla="*/ 332 h 406"/>
                <a:gd name="T14" fmla="*/ 212 w 524"/>
                <a:gd name="T15" fmla="*/ 339 h 406"/>
                <a:gd name="T16" fmla="*/ 300 w 524"/>
                <a:gd name="T17" fmla="*/ 401 h 406"/>
                <a:gd name="T18" fmla="*/ 369 w 524"/>
                <a:gd name="T19" fmla="*/ 319 h 406"/>
                <a:gd name="T20" fmla="*/ 369 w 524"/>
                <a:gd name="T21" fmla="*/ 311 h 406"/>
                <a:gd name="T22" fmla="*/ 524 w 524"/>
                <a:gd name="T23" fmla="*/ 291 h 406"/>
                <a:gd name="T24" fmla="*/ 446 w 524"/>
                <a:gd name="T25" fmla="*/ 194 h 406"/>
                <a:gd name="T26" fmla="*/ 214 w 524"/>
                <a:gd name="T27" fmla="*/ 37 h 406"/>
                <a:gd name="T28" fmla="*/ 137 w 524"/>
                <a:gd name="T29" fmla="*/ 8 h 406"/>
                <a:gd name="T30" fmla="*/ 87 w 524"/>
                <a:gd name="T31" fmla="*/ 19 h 406"/>
                <a:gd name="T32" fmla="*/ 31 w 524"/>
                <a:gd name="T33" fmla="*/ 0 h 406"/>
                <a:gd name="T34" fmla="*/ 0 w 524"/>
                <a:gd name="T35" fmla="*/ 5 h 406"/>
                <a:gd name="T36" fmla="*/ 2 w 524"/>
                <a:gd name="T37" fmla="*/ 21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24" h="406">
                  <a:moveTo>
                    <a:pt x="2" y="21"/>
                  </a:moveTo>
                  <a:cubicBezTo>
                    <a:pt x="23" y="21"/>
                    <a:pt x="44" y="29"/>
                    <a:pt x="60" y="43"/>
                  </a:cubicBezTo>
                  <a:cubicBezTo>
                    <a:pt x="78" y="59"/>
                    <a:pt x="90" y="80"/>
                    <a:pt x="94" y="104"/>
                  </a:cubicBezTo>
                  <a:cubicBezTo>
                    <a:pt x="97" y="128"/>
                    <a:pt x="91" y="152"/>
                    <a:pt x="77" y="172"/>
                  </a:cubicBezTo>
                  <a:cubicBezTo>
                    <a:pt x="65" y="190"/>
                    <a:pt x="47" y="203"/>
                    <a:pt x="27" y="209"/>
                  </a:cubicBezTo>
                  <a:cubicBezTo>
                    <a:pt x="46" y="353"/>
                    <a:pt x="46" y="353"/>
                    <a:pt x="46" y="353"/>
                  </a:cubicBezTo>
                  <a:cubicBezTo>
                    <a:pt x="210" y="332"/>
                    <a:pt x="210" y="332"/>
                    <a:pt x="210" y="332"/>
                  </a:cubicBezTo>
                  <a:cubicBezTo>
                    <a:pt x="212" y="339"/>
                    <a:pt x="212" y="339"/>
                    <a:pt x="212" y="339"/>
                  </a:cubicBezTo>
                  <a:cubicBezTo>
                    <a:pt x="221" y="380"/>
                    <a:pt x="259" y="406"/>
                    <a:pt x="300" y="401"/>
                  </a:cubicBezTo>
                  <a:cubicBezTo>
                    <a:pt x="341" y="395"/>
                    <a:pt x="371" y="360"/>
                    <a:pt x="369" y="319"/>
                  </a:cubicBezTo>
                  <a:cubicBezTo>
                    <a:pt x="369" y="311"/>
                    <a:pt x="369" y="311"/>
                    <a:pt x="369" y="311"/>
                  </a:cubicBezTo>
                  <a:cubicBezTo>
                    <a:pt x="524" y="291"/>
                    <a:pt x="524" y="291"/>
                    <a:pt x="524" y="291"/>
                  </a:cubicBezTo>
                  <a:cubicBezTo>
                    <a:pt x="515" y="247"/>
                    <a:pt x="485" y="212"/>
                    <a:pt x="446" y="194"/>
                  </a:cubicBezTo>
                  <a:cubicBezTo>
                    <a:pt x="407" y="103"/>
                    <a:pt x="319" y="39"/>
                    <a:pt x="214" y="37"/>
                  </a:cubicBezTo>
                  <a:cubicBezTo>
                    <a:pt x="194" y="19"/>
                    <a:pt x="167" y="8"/>
                    <a:pt x="137" y="8"/>
                  </a:cubicBezTo>
                  <a:cubicBezTo>
                    <a:pt x="119" y="8"/>
                    <a:pt x="102" y="12"/>
                    <a:pt x="87" y="19"/>
                  </a:cubicBezTo>
                  <a:cubicBezTo>
                    <a:pt x="71" y="7"/>
                    <a:pt x="52" y="0"/>
                    <a:pt x="31" y="0"/>
                  </a:cubicBezTo>
                  <a:cubicBezTo>
                    <a:pt x="20" y="0"/>
                    <a:pt x="10" y="2"/>
                    <a:pt x="0" y="5"/>
                  </a:cubicBezTo>
                  <a:lnTo>
                    <a:pt x="2" y="21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id-ID" sz="1798"/>
            </a:p>
          </p:txBody>
        </p:sp>
        <p:sp>
          <p:nvSpPr>
            <p:cNvPr id="10" name="îšḻîďê">
              <a:extLst>
                <a:ext uri="{FF2B5EF4-FFF2-40B4-BE49-F238E27FC236}">
                  <a16:creationId xmlns:a16="http://schemas.microsoft.com/office/drawing/2014/main" id="{9FF277DD-578F-4E9A-825C-7E3F448AA1C6}"/>
                </a:ext>
              </a:extLst>
            </p:cNvPr>
            <p:cNvSpPr/>
            <p:nvPr/>
          </p:nvSpPr>
          <p:spPr bwMode="auto">
            <a:xfrm>
              <a:off x="4955388" y="2659706"/>
              <a:ext cx="436394" cy="564819"/>
            </a:xfrm>
            <a:custGeom>
              <a:avLst/>
              <a:gdLst>
                <a:gd name="T0" fmla="*/ 130 w 148"/>
                <a:gd name="T1" fmla="*/ 112 h 191"/>
                <a:gd name="T2" fmla="*/ 148 w 148"/>
                <a:gd name="T3" fmla="*/ 67 h 191"/>
                <a:gd name="T4" fmla="*/ 82 w 148"/>
                <a:gd name="T5" fmla="*/ 0 h 191"/>
                <a:gd name="T6" fmla="*/ 45 w 148"/>
                <a:gd name="T7" fmla="*/ 12 h 191"/>
                <a:gd name="T8" fmla="*/ 44 w 148"/>
                <a:gd name="T9" fmla="*/ 12 h 191"/>
                <a:gd name="T10" fmla="*/ 43 w 148"/>
                <a:gd name="T11" fmla="*/ 13 h 191"/>
                <a:gd name="T12" fmla="*/ 28 w 148"/>
                <a:gd name="T13" fmla="*/ 28 h 191"/>
                <a:gd name="T14" fmla="*/ 17 w 148"/>
                <a:gd name="T15" fmla="*/ 53 h 191"/>
                <a:gd name="T16" fmla="*/ 20 w 148"/>
                <a:gd name="T17" fmla="*/ 74 h 191"/>
                <a:gd name="T18" fmla="*/ 2 w 148"/>
                <a:gd name="T19" fmla="*/ 101 h 191"/>
                <a:gd name="T20" fmla="*/ 7 w 148"/>
                <a:gd name="T21" fmla="*/ 110 h 191"/>
                <a:gd name="T22" fmla="*/ 18 w 148"/>
                <a:gd name="T23" fmla="*/ 110 h 191"/>
                <a:gd name="T24" fmla="*/ 19 w 148"/>
                <a:gd name="T25" fmla="*/ 118 h 191"/>
                <a:gd name="T26" fmla="*/ 22 w 148"/>
                <a:gd name="T27" fmla="*/ 122 h 191"/>
                <a:gd name="T28" fmla="*/ 20 w 148"/>
                <a:gd name="T29" fmla="*/ 129 h 191"/>
                <a:gd name="T30" fmla="*/ 25 w 148"/>
                <a:gd name="T31" fmla="*/ 133 h 191"/>
                <a:gd name="T32" fmla="*/ 35 w 148"/>
                <a:gd name="T33" fmla="*/ 152 h 191"/>
                <a:gd name="T34" fmla="*/ 44 w 148"/>
                <a:gd name="T35" fmla="*/ 151 h 191"/>
                <a:gd name="T36" fmla="*/ 51 w 148"/>
                <a:gd name="T37" fmla="*/ 150 h 191"/>
                <a:gd name="T38" fmla="*/ 60 w 148"/>
                <a:gd name="T39" fmla="*/ 159 h 191"/>
                <a:gd name="T40" fmla="*/ 58 w 148"/>
                <a:gd name="T41" fmla="*/ 171 h 191"/>
                <a:gd name="T42" fmla="*/ 49 w 148"/>
                <a:gd name="T43" fmla="*/ 191 h 191"/>
                <a:gd name="T44" fmla="*/ 89 w 148"/>
                <a:gd name="T45" fmla="*/ 171 h 191"/>
                <a:gd name="T46" fmla="*/ 131 w 148"/>
                <a:gd name="T47" fmla="*/ 163 h 191"/>
                <a:gd name="T48" fmla="*/ 130 w 148"/>
                <a:gd name="T49" fmla="*/ 112 h 191"/>
                <a:gd name="T50" fmla="*/ 104 w 148"/>
                <a:gd name="T51" fmla="*/ 76 h 191"/>
                <a:gd name="T52" fmla="*/ 101 w 148"/>
                <a:gd name="T53" fmla="*/ 72 h 191"/>
                <a:gd name="T54" fmla="*/ 70 w 148"/>
                <a:gd name="T55" fmla="*/ 114 h 191"/>
                <a:gd name="T56" fmla="*/ 76 w 148"/>
                <a:gd name="T57" fmla="*/ 78 h 191"/>
                <a:gd name="T58" fmla="*/ 63 w 148"/>
                <a:gd name="T59" fmla="*/ 78 h 191"/>
                <a:gd name="T60" fmla="*/ 68 w 148"/>
                <a:gd name="T61" fmla="*/ 59 h 191"/>
                <a:gd name="T62" fmla="*/ 62 w 148"/>
                <a:gd name="T63" fmla="*/ 59 h 191"/>
                <a:gd name="T64" fmla="*/ 49 w 148"/>
                <a:gd name="T65" fmla="*/ 22 h 191"/>
                <a:gd name="T66" fmla="*/ 49 w 148"/>
                <a:gd name="T67" fmla="*/ 21 h 191"/>
                <a:gd name="T68" fmla="*/ 49 w 148"/>
                <a:gd name="T69" fmla="*/ 21 h 191"/>
                <a:gd name="T70" fmla="*/ 49 w 148"/>
                <a:gd name="T71" fmla="*/ 21 h 191"/>
                <a:gd name="T72" fmla="*/ 50 w 148"/>
                <a:gd name="T73" fmla="*/ 21 h 191"/>
                <a:gd name="T74" fmla="*/ 82 w 148"/>
                <a:gd name="T75" fmla="*/ 11 h 191"/>
                <a:gd name="T76" fmla="*/ 135 w 148"/>
                <a:gd name="T77" fmla="*/ 48 h 191"/>
                <a:gd name="T78" fmla="*/ 135 w 148"/>
                <a:gd name="T79" fmla="*/ 70 h 191"/>
                <a:gd name="T80" fmla="*/ 104 w 148"/>
                <a:gd name="T81" fmla="*/ 76 h 191"/>
                <a:gd name="T82" fmla="*/ 90 w 148"/>
                <a:gd name="T83" fmla="*/ 61 h 191"/>
                <a:gd name="T84" fmla="*/ 103 w 148"/>
                <a:gd name="T85" fmla="*/ 61 h 191"/>
                <a:gd name="T86" fmla="*/ 75 w 148"/>
                <a:gd name="T87" fmla="*/ 102 h 191"/>
                <a:gd name="T88" fmla="*/ 81 w 148"/>
                <a:gd name="T89" fmla="*/ 74 h 191"/>
                <a:gd name="T90" fmla="*/ 68 w 148"/>
                <a:gd name="T91" fmla="*/ 74 h 191"/>
                <a:gd name="T92" fmla="*/ 76 w 148"/>
                <a:gd name="T93" fmla="*/ 40 h 191"/>
                <a:gd name="T94" fmla="*/ 97 w 148"/>
                <a:gd name="T95" fmla="*/ 40 h 191"/>
                <a:gd name="T96" fmla="*/ 90 w 148"/>
                <a:gd name="T97" fmla="*/ 61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48" h="191">
                  <a:moveTo>
                    <a:pt x="130" y="112"/>
                  </a:moveTo>
                  <a:cubicBezTo>
                    <a:pt x="142" y="92"/>
                    <a:pt x="148" y="84"/>
                    <a:pt x="148" y="67"/>
                  </a:cubicBezTo>
                  <a:cubicBezTo>
                    <a:pt x="148" y="30"/>
                    <a:pt x="118" y="0"/>
                    <a:pt x="82" y="0"/>
                  </a:cubicBezTo>
                  <a:cubicBezTo>
                    <a:pt x="68" y="0"/>
                    <a:pt x="55" y="5"/>
                    <a:pt x="45" y="12"/>
                  </a:cubicBezTo>
                  <a:cubicBezTo>
                    <a:pt x="44" y="12"/>
                    <a:pt x="44" y="12"/>
                    <a:pt x="44" y="12"/>
                  </a:cubicBezTo>
                  <a:cubicBezTo>
                    <a:pt x="44" y="12"/>
                    <a:pt x="44" y="12"/>
                    <a:pt x="43" y="13"/>
                  </a:cubicBezTo>
                  <a:cubicBezTo>
                    <a:pt x="37" y="17"/>
                    <a:pt x="32" y="22"/>
                    <a:pt x="28" y="28"/>
                  </a:cubicBezTo>
                  <a:cubicBezTo>
                    <a:pt x="23" y="35"/>
                    <a:pt x="19" y="44"/>
                    <a:pt x="17" y="53"/>
                  </a:cubicBezTo>
                  <a:cubicBezTo>
                    <a:pt x="14" y="68"/>
                    <a:pt x="20" y="68"/>
                    <a:pt x="20" y="74"/>
                  </a:cubicBezTo>
                  <a:cubicBezTo>
                    <a:pt x="20" y="79"/>
                    <a:pt x="11" y="89"/>
                    <a:pt x="2" y="101"/>
                  </a:cubicBezTo>
                  <a:cubicBezTo>
                    <a:pt x="0" y="104"/>
                    <a:pt x="1" y="110"/>
                    <a:pt x="7" y="110"/>
                  </a:cubicBezTo>
                  <a:cubicBezTo>
                    <a:pt x="18" y="110"/>
                    <a:pt x="18" y="110"/>
                    <a:pt x="18" y="110"/>
                  </a:cubicBezTo>
                  <a:cubicBezTo>
                    <a:pt x="25" y="110"/>
                    <a:pt x="20" y="117"/>
                    <a:pt x="19" y="118"/>
                  </a:cubicBezTo>
                  <a:cubicBezTo>
                    <a:pt x="19" y="119"/>
                    <a:pt x="22" y="122"/>
                    <a:pt x="22" y="122"/>
                  </a:cubicBezTo>
                  <a:cubicBezTo>
                    <a:pt x="22" y="122"/>
                    <a:pt x="18" y="126"/>
                    <a:pt x="20" y="129"/>
                  </a:cubicBezTo>
                  <a:cubicBezTo>
                    <a:pt x="20" y="130"/>
                    <a:pt x="26" y="129"/>
                    <a:pt x="25" y="133"/>
                  </a:cubicBezTo>
                  <a:cubicBezTo>
                    <a:pt x="21" y="150"/>
                    <a:pt x="30" y="152"/>
                    <a:pt x="35" y="152"/>
                  </a:cubicBezTo>
                  <a:cubicBezTo>
                    <a:pt x="38" y="152"/>
                    <a:pt x="41" y="152"/>
                    <a:pt x="44" y="151"/>
                  </a:cubicBezTo>
                  <a:cubicBezTo>
                    <a:pt x="46" y="150"/>
                    <a:pt x="49" y="150"/>
                    <a:pt x="51" y="150"/>
                  </a:cubicBezTo>
                  <a:cubicBezTo>
                    <a:pt x="57" y="150"/>
                    <a:pt x="61" y="153"/>
                    <a:pt x="60" y="159"/>
                  </a:cubicBezTo>
                  <a:cubicBezTo>
                    <a:pt x="58" y="164"/>
                    <a:pt x="58" y="167"/>
                    <a:pt x="58" y="171"/>
                  </a:cubicBezTo>
                  <a:cubicBezTo>
                    <a:pt x="57" y="175"/>
                    <a:pt x="49" y="191"/>
                    <a:pt x="49" y="191"/>
                  </a:cubicBezTo>
                  <a:cubicBezTo>
                    <a:pt x="49" y="191"/>
                    <a:pt x="62" y="182"/>
                    <a:pt x="89" y="171"/>
                  </a:cubicBezTo>
                  <a:cubicBezTo>
                    <a:pt x="115" y="159"/>
                    <a:pt x="131" y="163"/>
                    <a:pt x="131" y="163"/>
                  </a:cubicBezTo>
                  <a:cubicBezTo>
                    <a:pt x="131" y="163"/>
                    <a:pt x="118" y="132"/>
                    <a:pt x="130" y="112"/>
                  </a:cubicBezTo>
                  <a:close/>
                  <a:moveTo>
                    <a:pt x="104" y="76"/>
                  </a:moveTo>
                  <a:cubicBezTo>
                    <a:pt x="103" y="75"/>
                    <a:pt x="102" y="73"/>
                    <a:pt x="101" y="72"/>
                  </a:cubicBezTo>
                  <a:cubicBezTo>
                    <a:pt x="70" y="114"/>
                    <a:pt x="70" y="114"/>
                    <a:pt x="70" y="114"/>
                  </a:cubicBezTo>
                  <a:cubicBezTo>
                    <a:pt x="76" y="78"/>
                    <a:pt x="76" y="78"/>
                    <a:pt x="76" y="78"/>
                  </a:cubicBezTo>
                  <a:cubicBezTo>
                    <a:pt x="63" y="78"/>
                    <a:pt x="63" y="78"/>
                    <a:pt x="63" y="78"/>
                  </a:cubicBezTo>
                  <a:cubicBezTo>
                    <a:pt x="68" y="59"/>
                    <a:pt x="68" y="59"/>
                    <a:pt x="68" y="59"/>
                  </a:cubicBezTo>
                  <a:cubicBezTo>
                    <a:pt x="66" y="59"/>
                    <a:pt x="64" y="59"/>
                    <a:pt x="62" y="59"/>
                  </a:cubicBezTo>
                  <a:cubicBezTo>
                    <a:pt x="37" y="62"/>
                    <a:pt x="30" y="36"/>
                    <a:pt x="49" y="22"/>
                  </a:cubicBezTo>
                  <a:cubicBezTo>
                    <a:pt x="49" y="21"/>
                    <a:pt x="49" y="21"/>
                    <a:pt x="49" y="21"/>
                  </a:cubicBezTo>
                  <a:cubicBezTo>
                    <a:pt x="49" y="21"/>
                    <a:pt x="49" y="21"/>
                    <a:pt x="49" y="21"/>
                  </a:cubicBezTo>
                  <a:cubicBezTo>
                    <a:pt x="49" y="21"/>
                    <a:pt x="49" y="21"/>
                    <a:pt x="49" y="21"/>
                  </a:cubicBezTo>
                  <a:cubicBezTo>
                    <a:pt x="50" y="21"/>
                    <a:pt x="50" y="21"/>
                    <a:pt x="50" y="21"/>
                  </a:cubicBezTo>
                  <a:cubicBezTo>
                    <a:pt x="59" y="14"/>
                    <a:pt x="70" y="11"/>
                    <a:pt x="82" y="11"/>
                  </a:cubicBezTo>
                  <a:cubicBezTo>
                    <a:pt x="106" y="11"/>
                    <a:pt x="127" y="26"/>
                    <a:pt x="135" y="48"/>
                  </a:cubicBezTo>
                  <a:cubicBezTo>
                    <a:pt x="138" y="57"/>
                    <a:pt x="138" y="63"/>
                    <a:pt x="135" y="70"/>
                  </a:cubicBezTo>
                  <a:cubicBezTo>
                    <a:pt x="130" y="82"/>
                    <a:pt x="108" y="83"/>
                    <a:pt x="104" y="76"/>
                  </a:cubicBezTo>
                  <a:close/>
                  <a:moveTo>
                    <a:pt x="90" y="61"/>
                  </a:moveTo>
                  <a:cubicBezTo>
                    <a:pt x="103" y="61"/>
                    <a:pt x="103" y="61"/>
                    <a:pt x="103" y="61"/>
                  </a:cubicBezTo>
                  <a:cubicBezTo>
                    <a:pt x="75" y="102"/>
                    <a:pt x="75" y="102"/>
                    <a:pt x="75" y="102"/>
                  </a:cubicBezTo>
                  <a:cubicBezTo>
                    <a:pt x="81" y="74"/>
                    <a:pt x="81" y="74"/>
                    <a:pt x="81" y="74"/>
                  </a:cubicBezTo>
                  <a:cubicBezTo>
                    <a:pt x="68" y="74"/>
                    <a:pt x="68" y="74"/>
                    <a:pt x="68" y="74"/>
                  </a:cubicBezTo>
                  <a:cubicBezTo>
                    <a:pt x="76" y="40"/>
                    <a:pt x="76" y="40"/>
                    <a:pt x="76" y="40"/>
                  </a:cubicBezTo>
                  <a:cubicBezTo>
                    <a:pt x="97" y="40"/>
                    <a:pt x="97" y="40"/>
                    <a:pt x="97" y="40"/>
                  </a:cubicBezTo>
                  <a:lnTo>
                    <a:pt x="90" y="6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/>
            </a:p>
          </p:txBody>
        </p:sp>
        <p:sp>
          <p:nvSpPr>
            <p:cNvPr id="11" name="işḷîdê">
              <a:extLst>
                <a:ext uri="{FF2B5EF4-FFF2-40B4-BE49-F238E27FC236}">
                  <a16:creationId xmlns:a16="http://schemas.microsoft.com/office/drawing/2014/main" id="{88179CBA-C5E4-4ACC-9D3F-0316F7446AEA}"/>
                </a:ext>
              </a:extLst>
            </p:cNvPr>
            <p:cNvSpPr/>
            <p:nvPr/>
          </p:nvSpPr>
          <p:spPr bwMode="auto">
            <a:xfrm>
              <a:off x="4955388" y="4424881"/>
              <a:ext cx="436394" cy="564819"/>
            </a:xfrm>
            <a:custGeom>
              <a:avLst/>
              <a:gdLst>
                <a:gd name="T0" fmla="*/ 130 w 148"/>
                <a:gd name="T1" fmla="*/ 112 h 191"/>
                <a:gd name="T2" fmla="*/ 148 w 148"/>
                <a:gd name="T3" fmla="*/ 67 h 191"/>
                <a:gd name="T4" fmla="*/ 82 w 148"/>
                <a:gd name="T5" fmla="*/ 0 h 191"/>
                <a:gd name="T6" fmla="*/ 45 w 148"/>
                <a:gd name="T7" fmla="*/ 12 h 191"/>
                <a:gd name="T8" fmla="*/ 44 w 148"/>
                <a:gd name="T9" fmla="*/ 12 h 191"/>
                <a:gd name="T10" fmla="*/ 43 w 148"/>
                <a:gd name="T11" fmla="*/ 13 h 191"/>
                <a:gd name="T12" fmla="*/ 28 w 148"/>
                <a:gd name="T13" fmla="*/ 28 h 191"/>
                <a:gd name="T14" fmla="*/ 17 w 148"/>
                <a:gd name="T15" fmla="*/ 53 h 191"/>
                <a:gd name="T16" fmla="*/ 20 w 148"/>
                <a:gd name="T17" fmla="*/ 74 h 191"/>
                <a:gd name="T18" fmla="*/ 2 w 148"/>
                <a:gd name="T19" fmla="*/ 101 h 191"/>
                <a:gd name="T20" fmla="*/ 7 w 148"/>
                <a:gd name="T21" fmla="*/ 110 h 191"/>
                <a:gd name="T22" fmla="*/ 18 w 148"/>
                <a:gd name="T23" fmla="*/ 110 h 191"/>
                <a:gd name="T24" fmla="*/ 19 w 148"/>
                <a:gd name="T25" fmla="*/ 118 h 191"/>
                <a:gd name="T26" fmla="*/ 22 w 148"/>
                <a:gd name="T27" fmla="*/ 122 h 191"/>
                <a:gd name="T28" fmla="*/ 20 w 148"/>
                <a:gd name="T29" fmla="*/ 129 h 191"/>
                <a:gd name="T30" fmla="*/ 25 w 148"/>
                <a:gd name="T31" fmla="*/ 133 h 191"/>
                <a:gd name="T32" fmla="*/ 35 w 148"/>
                <a:gd name="T33" fmla="*/ 152 h 191"/>
                <a:gd name="T34" fmla="*/ 44 w 148"/>
                <a:gd name="T35" fmla="*/ 151 h 191"/>
                <a:gd name="T36" fmla="*/ 51 w 148"/>
                <a:gd name="T37" fmla="*/ 150 h 191"/>
                <a:gd name="T38" fmla="*/ 60 w 148"/>
                <a:gd name="T39" fmla="*/ 159 h 191"/>
                <a:gd name="T40" fmla="*/ 58 w 148"/>
                <a:gd name="T41" fmla="*/ 171 h 191"/>
                <a:gd name="T42" fmla="*/ 49 w 148"/>
                <a:gd name="T43" fmla="*/ 191 h 191"/>
                <a:gd name="T44" fmla="*/ 89 w 148"/>
                <a:gd name="T45" fmla="*/ 171 h 191"/>
                <a:gd name="T46" fmla="*/ 131 w 148"/>
                <a:gd name="T47" fmla="*/ 163 h 191"/>
                <a:gd name="T48" fmla="*/ 130 w 148"/>
                <a:gd name="T49" fmla="*/ 112 h 191"/>
                <a:gd name="T50" fmla="*/ 104 w 148"/>
                <a:gd name="T51" fmla="*/ 76 h 191"/>
                <a:gd name="T52" fmla="*/ 101 w 148"/>
                <a:gd name="T53" fmla="*/ 72 h 191"/>
                <a:gd name="T54" fmla="*/ 70 w 148"/>
                <a:gd name="T55" fmla="*/ 114 h 191"/>
                <a:gd name="T56" fmla="*/ 76 w 148"/>
                <a:gd name="T57" fmla="*/ 78 h 191"/>
                <a:gd name="T58" fmla="*/ 63 w 148"/>
                <a:gd name="T59" fmla="*/ 78 h 191"/>
                <a:gd name="T60" fmla="*/ 68 w 148"/>
                <a:gd name="T61" fmla="*/ 59 h 191"/>
                <a:gd name="T62" fmla="*/ 62 w 148"/>
                <a:gd name="T63" fmla="*/ 59 h 191"/>
                <a:gd name="T64" fmla="*/ 49 w 148"/>
                <a:gd name="T65" fmla="*/ 22 h 191"/>
                <a:gd name="T66" fmla="*/ 49 w 148"/>
                <a:gd name="T67" fmla="*/ 21 h 191"/>
                <a:gd name="T68" fmla="*/ 49 w 148"/>
                <a:gd name="T69" fmla="*/ 21 h 191"/>
                <a:gd name="T70" fmla="*/ 49 w 148"/>
                <a:gd name="T71" fmla="*/ 21 h 191"/>
                <a:gd name="T72" fmla="*/ 50 w 148"/>
                <a:gd name="T73" fmla="*/ 21 h 191"/>
                <a:gd name="T74" fmla="*/ 82 w 148"/>
                <a:gd name="T75" fmla="*/ 11 h 191"/>
                <a:gd name="T76" fmla="*/ 135 w 148"/>
                <a:gd name="T77" fmla="*/ 48 h 191"/>
                <a:gd name="T78" fmla="*/ 135 w 148"/>
                <a:gd name="T79" fmla="*/ 70 h 191"/>
                <a:gd name="T80" fmla="*/ 104 w 148"/>
                <a:gd name="T81" fmla="*/ 76 h 191"/>
                <a:gd name="T82" fmla="*/ 90 w 148"/>
                <a:gd name="T83" fmla="*/ 61 h 191"/>
                <a:gd name="T84" fmla="*/ 103 w 148"/>
                <a:gd name="T85" fmla="*/ 61 h 191"/>
                <a:gd name="T86" fmla="*/ 75 w 148"/>
                <a:gd name="T87" fmla="*/ 102 h 191"/>
                <a:gd name="T88" fmla="*/ 81 w 148"/>
                <a:gd name="T89" fmla="*/ 74 h 191"/>
                <a:gd name="T90" fmla="*/ 68 w 148"/>
                <a:gd name="T91" fmla="*/ 74 h 191"/>
                <a:gd name="T92" fmla="*/ 76 w 148"/>
                <a:gd name="T93" fmla="*/ 40 h 191"/>
                <a:gd name="T94" fmla="*/ 97 w 148"/>
                <a:gd name="T95" fmla="*/ 40 h 191"/>
                <a:gd name="T96" fmla="*/ 90 w 148"/>
                <a:gd name="T97" fmla="*/ 61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48" h="191">
                  <a:moveTo>
                    <a:pt x="130" y="112"/>
                  </a:moveTo>
                  <a:cubicBezTo>
                    <a:pt x="142" y="92"/>
                    <a:pt x="148" y="84"/>
                    <a:pt x="148" y="67"/>
                  </a:cubicBezTo>
                  <a:cubicBezTo>
                    <a:pt x="148" y="30"/>
                    <a:pt x="118" y="0"/>
                    <a:pt x="82" y="0"/>
                  </a:cubicBezTo>
                  <a:cubicBezTo>
                    <a:pt x="68" y="0"/>
                    <a:pt x="55" y="5"/>
                    <a:pt x="45" y="12"/>
                  </a:cubicBezTo>
                  <a:cubicBezTo>
                    <a:pt x="44" y="12"/>
                    <a:pt x="44" y="12"/>
                    <a:pt x="44" y="12"/>
                  </a:cubicBezTo>
                  <a:cubicBezTo>
                    <a:pt x="44" y="12"/>
                    <a:pt x="44" y="12"/>
                    <a:pt x="43" y="13"/>
                  </a:cubicBezTo>
                  <a:cubicBezTo>
                    <a:pt x="37" y="17"/>
                    <a:pt x="32" y="22"/>
                    <a:pt x="28" y="28"/>
                  </a:cubicBezTo>
                  <a:cubicBezTo>
                    <a:pt x="23" y="35"/>
                    <a:pt x="19" y="44"/>
                    <a:pt x="17" y="53"/>
                  </a:cubicBezTo>
                  <a:cubicBezTo>
                    <a:pt x="14" y="68"/>
                    <a:pt x="20" y="68"/>
                    <a:pt x="20" y="74"/>
                  </a:cubicBezTo>
                  <a:cubicBezTo>
                    <a:pt x="20" y="79"/>
                    <a:pt x="11" y="89"/>
                    <a:pt x="2" y="101"/>
                  </a:cubicBezTo>
                  <a:cubicBezTo>
                    <a:pt x="0" y="104"/>
                    <a:pt x="1" y="110"/>
                    <a:pt x="7" y="110"/>
                  </a:cubicBezTo>
                  <a:cubicBezTo>
                    <a:pt x="18" y="110"/>
                    <a:pt x="18" y="110"/>
                    <a:pt x="18" y="110"/>
                  </a:cubicBezTo>
                  <a:cubicBezTo>
                    <a:pt x="25" y="110"/>
                    <a:pt x="20" y="117"/>
                    <a:pt x="19" y="118"/>
                  </a:cubicBezTo>
                  <a:cubicBezTo>
                    <a:pt x="19" y="119"/>
                    <a:pt x="22" y="122"/>
                    <a:pt x="22" y="122"/>
                  </a:cubicBezTo>
                  <a:cubicBezTo>
                    <a:pt x="22" y="122"/>
                    <a:pt x="18" y="126"/>
                    <a:pt x="20" y="129"/>
                  </a:cubicBezTo>
                  <a:cubicBezTo>
                    <a:pt x="20" y="130"/>
                    <a:pt x="26" y="129"/>
                    <a:pt x="25" y="133"/>
                  </a:cubicBezTo>
                  <a:cubicBezTo>
                    <a:pt x="21" y="150"/>
                    <a:pt x="30" y="152"/>
                    <a:pt x="35" y="152"/>
                  </a:cubicBezTo>
                  <a:cubicBezTo>
                    <a:pt x="38" y="152"/>
                    <a:pt x="41" y="152"/>
                    <a:pt x="44" y="151"/>
                  </a:cubicBezTo>
                  <a:cubicBezTo>
                    <a:pt x="46" y="150"/>
                    <a:pt x="49" y="150"/>
                    <a:pt x="51" y="150"/>
                  </a:cubicBezTo>
                  <a:cubicBezTo>
                    <a:pt x="57" y="150"/>
                    <a:pt x="61" y="153"/>
                    <a:pt x="60" y="159"/>
                  </a:cubicBezTo>
                  <a:cubicBezTo>
                    <a:pt x="58" y="164"/>
                    <a:pt x="58" y="167"/>
                    <a:pt x="58" y="171"/>
                  </a:cubicBezTo>
                  <a:cubicBezTo>
                    <a:pt x="57" y="175"/>
                    <a:pt x="49" y="191"/>
                    <a:pt x="49" y="191"/>
                  </a:cubicBezTo>
                  <a:cubicBezTo>
                    <a:pt x="49" y="191"/>
                    <a:pt x="62" y="182"/>
                    <a:pt x="89" y="171"/>
                  </a:cubicBezTo>
                  <a:cubicBezTo>
                    <a:pt x="115" y="159"/>
                    <a:pt x="131" y="163"/>
                    <a:pt x="131" y="163"/>
                  </a:cubicBezTo>
                  <a:cubicBezTo>
                    <a:pt x="131" y="163"/>
                    <a:pt x="118" y="132"/>
                    <a:pt x="130" y="112"/>
                  </a:cubicBezTo>
                  <a:close/>
                  <a:moveTo>
                    <a:pt x="104" y="76"/>
                  </a:moveTo>
                  <a:cubicBezTo>
                    <a:pt x="103" y="75"/>
                    <a:pt x="102" y="73"/>
                    <a:pt x="101" y="72"/>
                  </a:cubicBezTo>
                  <a:cubicBezTo>
                    <a:pt x="70" y="114"/>
                    <a:pt x="70" y="114"/>
                    <a:pt x="70" y="114"/>
                  </a:cubicBezTo>
                  <a:cubicBezTo>
                    <a:pt x="76" y="78"/>
                    <a:pt x="76" y="78"/>
                    <a:pt x="76" y="78"/>
                  </a:cubicBezTo>
                  <a:cubicBezTo>
                    <a:pt x="63" y="78"/>
                    <a:pt x="63" y="78"/>
                    <a:pt x="63" y="78"/>
                  </a:cubicBezTo>
                  <a:cubicBezTo>
                    <a:pt x="68" y="59"/>
                    <a:pt x="68" y="59"/>
                    <a:pt x="68" y="59"/>
                  </a:cubicBezTo>
                  <a:cubicBezTo>
                    <a:pt x="66" y="59"/>
                    <a:pt x="64" y="59"/>
                    <a:pt x="62" y="59"/>
                  </a:cubicBezTo>
                  <a:cubicBezTo>
                    <a:pt x="37" y="62"/>
                    <a:pt x="30" y="36"/>
                    <a:pt x="49" y="22"/>
                  </a:cubicBezTo>
                  <a:cubicBezTo>
                    <a:pt x="49" y="21"/>
                    <a:pt x="49" y="21"/>
                    <a:pt x="49" y="21"/>
                  </a:cubicBezTo>
                  <a:cubicBezTo>
                    <a:pt x="49" y="21"/>
                    <a:pt x="49" y="21"/>
                    <a:pt x="49" y="21"/>
                  </a:cubicBezTo>
                  <a:cubicBezTo>
                    <a:pt x="49" y="21"/>
                    <a:pt x="49" y="21"/>
                    <a:pt x="49" y="21"/>
                  </a:cubicBezTo>
                  <a:cubicBezTo>
                    <a:pt x="50" y="21"/>
                    <a:pt x="50" y="21"/>
                    <a:pt x="50" y="21"/>
                  </a:cubicBezTo>
                  <a:cubicBezTo>
                    <a:pt x="59" y="14"/>
                    <a:pt x="70" y="11"/>
                    <a:pt x="82" y="11"/>
                  </a:cubicBezTo>
                  <a:cubicBezTo>
                    <a:pt x="106" y="11"/>
                    <a:pt x="127" y="26"/>
                    <a:pt x="135" y="48"/>
                  </a:cubicBezTo>
                  <a:cubicBezTo>
                    <a:pt x="138" y="57"/>
                    <a:pt x="138" y="63"/>
                    <a:pt x="135" y="70"/>
                  </a:cubicBezTo>
                  <a:cubicBezTo>
                    <a:pt x="130" y="82"/>
                    <a:pt x="108" y="83"/>
                    <a:pt x="104" y="76"/>
                  </a:cubicBezTo>
                  <a:close/>
                  <a:moveTo>
                    <a:pt x="90" y="61"/>
                  </a:moveTo>
                  <a:cubicBezTo>
                    <a:pt x="103" y="61"/>
                    <a:pt x="103" y="61"/>
                    <a:pt x="103" y="61"/>
                  </a:cubicBezTo>
                  <a:cubicBezTo>
                    <a:pt x="75" y="102"/>
                    <a:pt x="75" y="102"/>
                    <a:pt x="75" y="102"/>
                  </a:cubicBezTo>
                  <a:cubicBezTo>
                    <a:pt x="81" y="74"/>
                    <a:pt x="81" y="74"/>
                    <a:pt x="81" y="74"/>
                  </a:cubicBezTo>
                  <a:cubicBezTo>
                    <a:pt x="68" y="74"/>
                    <a:pt x="68" y="74"/>
                    <a:pt x="68" y="74"/>
                  </a:cubicBezTo>
                  <a:cubicBezTo>
                    <a:pt x="76" y="40"/>
                    <a:pt x="76" y="40"/>
                    <a:pt x="76" y="40"/>
                  </a:cubicBezTo>
                  <a:cubicBezTo>
                    <a:pt x="97" y="40"/>
                    <a:pt x="97" y="40"/>
                    <a:pt x="97" y="40"/>
                  </a:cubicBezTo>
                  <a:lnTo>
                    <a:pt x="90" y="6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/>
            </a:p>
          </p:txBody>
        </p:sp>
        <p:sp>
          <p:nvSpPr>
            <p:cNvPr id="12" name="íṣ1íḋé">
              <a:extLst>
                <a:ext uri="{FF2B5EF4-FFF2-40B4-BE49-F238E27FC236}">
                  <a16:creationId xmlns:a16="http://schemas.microsoft.com/office/drawing/2014/main" id="{742E18EA-3EA4-4A30-9956-B749495DA80A}"/>
                </a:ext>
              </a:extLst>
            </p:cNvPr>
            <p:cNvSpPr/>
            <p:nvPr/>
          </p:nvSpPr>
          <p:spPr bwMode="auto">
            <a:xfrm>
              <a:off x="6765254" y="3755477"/>
              <a:ext cx="436394" cy="564819"/>
            </a:xfrm>
            <a:custGeom>
              <a:avLst/>
              <a:gdLst>
                <a:gd name="T0" fmla="*/ 130 w 148"/>
                <a:gd name="T1" fmla="*/ 112 h 191"/>
                <a:gd name="T2" fmla="*/ 148 w 148"/>
                <a:gd name="T3" fmla="*/ 67 h 191"/>
                <a:gd name="T4" fmla="*/ 82 w 148"/>
                <a:gd name="T5" fmla="*/ 0 h 191"/>
                <a:gd name="T6" fmla="*/ 45 w 148"/>
                <a:gd name="T7" fmla="*/ 12 h 191"/>
                <a:gd name="T8" fmla="*/ 44 w 148"/>
                <a:gd name="T9" fmla="*/ 12 h 191"/>
                <a:gd name="T10" fmla="*/ 43 w 148"/>
                <a:gd name="T11" fmla="*/ 13 h 191"/>
                <a:gd name="T12" fmla="*/ 28 w 148"/>
                <a:gd name="T13" fmla="*/ 28 h 191"/>
                <a:gd name="T14" fmla="*/ 17 w 148"/>
                <a:gd name="T15" fmla="*/ 53 h 191"/>
                <a:gd name="T16" fmla="*/ 20 w 148"/>
                <a:gd name="T17" fmla="*/ 74 h 191"/>
                <a:gd name="T18" fmla="*/ 2 w 148"/>
                <a:gd name="T19" fmla="*/ 101 h 191"/>
                <a:gd name="T20" fmla="*/ 7 w 148"/>
                <a:gd name="T21" fmla="*/ 110 h 191"/>
                <a:gd name="T22" fmla="*/ 18 w 148"/>
                <a:gd name="T23" fmla="*/ 110 h 191"/>
                <a:gd name="T24" fmla="*/ 19 w 148"/>
                <a:gd name="T25" fmla="*/ 118 h 191"/>
                <a:gd name="T26" fmla="*/ 22 w 148"/>
                <a:gd name="T27" fmla="*/ 122 h 191"/>
                <a:gd name="T28" fmla="*/ 20 w 148"/>
                <a:gd name="T29" fmla="*/ 129 h 191"/>
                <a:gd name="T30" fmla="*/ 25 w 148"/>
                <a:gd name="T31" fmla="*/ 133 h 191"/>
                <a:gd name="T32" fmla="*/ 35 w 148"/>
                <a:gd name="T33" fmla="*/ 152 h 191"/>
                <a:gd name="T34" fmla="*/ 44 w 148"/>
                <a:gd name="T35" fmla="*/ 151 h 191"/>
                <a:gd name="T36" fmla="*/ 51 w 148"/>
                <a:gd name="T37" fmla="*/ 150 h 191"/>
                <a:gd name="T38" fmla="*/ 60 w 148"/>
                <a:gd name="T39" fmla="*/ 159 h 191"/>
                <a:gd name="T40" fmla="*/ 58 w 148"/>
                <a:gd name="T41" fmla="*/ 171 h 191"/>
                <a:gd name="T42" fmla="*/ 49 w 148"/>
                <a:gd name="T43" fmla="*/ 191 h 191"/>
                <a:gd name="T44" fmla="*/ 89 w 148"/>
                <a:gd name="T45" fmla="*/ 171 h 191"/>
                <a:gd name="T46" fmla="*/ 131 w 148"/>
                <a:gd name="T47" fmla="*/ 163 h 191"/>
                <a:gd name="T48" fmla="*/ 130 w 148"/>
                <a:gd name="T49" fmla="*/ 112 h 191"/>
                <a:gd name="T50" fmla="*/ 104 w 148"/>
                <a:gd name="T51" fmla="*/ 76 h 191"/>
                <a:gd name="T52" fmla="*/ 101 w 148"/>
                <a:gd name="T53" fmla="*/ 72 h 191"/>
                <a:gd name="T54" fmla="*/ 70 w 148"/>
                <a:gd name="T55" fmla="*/ 114 h 191"/>
                <a:gd name="T56" fmla="*/ 76 w 148"/>
                <a:gd name="T57" fmla="*/ 78 h 191"/>
                <a:gd name="T58" fmla="*/ 63 w 148"/>
                <a:gd name="T59" fmla="*/ 78 h 191"/>
                <a:gd name="T60" fmla="*/ 68 w 148"/>
                <a:gd name="T61" fmla="*/ 59 h 191"/>
                <a:gd name="T62" fmla="*/ 62 w 148"/>
                <a:gd name="T63" fmla="*/ 59 h 191"/>
                <a:gd name="T64" fmla="*/ 49 w 148"/>
                <a:gd name="T65" fmla="*/ 22 h 191"/>
                <a:gd name="T66" fmla="*/ 49 w 148"/>
                <a:gd name="T67" fmla="*/ 21 h 191"/>
                <a:gd name="T68" fmla="*/ 49 w 148"/>
                <a:gd name="T69" fmla="*/ 21 h 191"/>
                <a:gd name="T70" fmla="*/ 49 w 148"/>
                <a:gd name="T71" fmla="*/ 21 h 191"/>
                <a:gd name="T72" fmla="*/ 50 w 148"/>
                <a:gd name="T73" fmla="*/ 21 h 191"/>
                <a:gd name="T74" fmla="*/ 82 w 148"/>
                <a:gd name="T75" fmla="*/ 11 h 191"/>
                <a:gd name="T76" fmla="*/ 135 w 148"/>
                <a:gd name="T77" fmla="*/ 48 h 191"/>
                <a:gd name="T78" fmla="*/ 135 w 148"/>
                <a:gd name="T79" fmla="*/ 70 h 191"/>
                <a:gd name="T80" fmla="*/ 104 w 148"/>
                <a:gd name="T81" fmla="*/ 76 h 191"/>
                <a:gd name="T82" fmla="*/ 90 w 148"/>
                <a:gd name="T83" fmla="*/ 61 h 191"/>
                <a:gd name="T84" fmla="*/ 103 w 148"/>
                <a:gd name="T85" fmla="*/ 61 h 191"/>
                <a:gd name="T86" fmla="*/ 75 w 148"/>
                <a:gd name="T87" fmla="*/ 102 h 191"/>
                <a:gd name="T88" fmla="*/ 81 w 148"/>
                <a:gd name="T89" fmla="*/ 74 h 191"/>
                <a:gd name="T90" fmla="*/ 68 w 148"/>
                <a:gd name="T91" fmla="*/ 74 h 191"/>
                <a:gd name="T92" fmla="*/ 76 w 148"/>
                <a:gd name="T93" fmla="*/ 40 h 191"/>
                <a:gd name="T94" fmla="*/ 97 w 148"/>
                <a:gd name="T95" fmla="*/ 40 h 191"/>
                <a:gd name="T96" fmla="*/ 90 w 148"/>
                <a:gd name="T97" fmla="*/ 61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48" h="191">
                  <a:moveTo>
                    <a:pt x="130" y="112"/>
                  </a:moveTo>
                  <a:cubicBezTo>
                    <a:pt x="142" y="92"/>
                    <a:pt x="148" y="84"/>
                    <a:pt x="148" y="67"/>
                  </a:cubicBezTo>
                  <a:cubicBezTo>
                    <a:pt x="148" y="30"/>
                    <a:pt x="118" y="0"/>
                    <a:pt x="82" y="0"/>
                  </a:cubicBezTo>
                  <a:cubicBezTo>
                    <a:pt x="68" y="0"/>
                    <a:pt x="55" y="5"/>
                    <a:pt x="45" y="12"/>
                  </a:cubicBezTo>
                  <a:cubicBezTo>
                    <a:pt x="44" y="12"/>
                    <a:pt x="44" y="12"/>
                    <a:pt x="44" y="12"/>
                  </a:cubicBezTo>
                  <a:cubicBezTo>
                    <a:pt x="44" y="12"/>
                    <a:pt x="44" y="12"/>
                    <a:pt x="43" y="13"/>
                  </a:cubicBezTo>
                  <a:cubicBezTo>
                    <a:pt x="37" y="17"/>
                    <a:pt x="32" y="22"/>
                    <a:pt x="28" y="28"/>
                  </a:cubicBezTo>
                  <a:cubicBezTo>
                    <a:pt x="23" y="35"/>
                    <a:pt x="19" y="44"/>
                    <a:pt x="17" y="53"/>
                  </a:cubicBezTo>
                  <a:cubicBezTo>
                    <a:pt x="14" y="68"/>
                    <a:pt x="20" y="68"/>
                    <a:pt x="20" y="74"/>
                  </a:cubicBezTo>
                  <a:cubicBezTo>
                    <a:pt x="20" y="79"/>
                    <a:pt x="11" y="89"/>
                    <a:pt x="2" y="101"/>
                  </a:cubicBezTo>
                  <a:cubicBezTo>
                    <a:pt x="0" y="104"/>
                    <a:pt x="1" y="110"/>
                    <a:pt x="7" y="110"/>
                  </a:cubicBezTo>
                  <a:cubicBezTo>
                    <a:pt x="18" y="110"/>
                    <a:pt x="18" y="110"/>
                    <a:pt x="18" y="110"/>
                  </a:cubicBezTo>
                  <a:cubicBezTo>
                    <a:pt x="25" y="110"/>
                    <a:pt x="20" y="117"/>
                    <a:pt x="19" y="118"/>
                  </a:cubicBezTo>
                  <a:cubicBezTo>
                    <a:pt x="19" y="119"/>
                    <a:pt x="22" y="122"/>
                    <a:pt x="22" y="122"/>
                  </a:cubicBezTo>
                  <a:cubicBezTo>
                    <a:pt x="22" y="122"/>
                    <a:pt x="18" y="126"/>
                    <a:pt x="20" y="129"/>
                  </a:cubicBezTo>
                  <a:cubicBezTo>
                    <a:pt x="20" y="130"/>
                    <a:pt x="26" y="129"/>
                    <a:pt x="25" y="133"/>
                  </a:cubicBezTo>
                  <a:cubicBezTo>
                    <a:pt x="21" y="150"/>
                    <a:pt x="30" y="152"/>
                    <a:pt x="35" y="152"/>
                  </a:cubicBezTo>
                  <a:cubicBezTo>
                    <a:pt x="38" y="152"/>
                    <a:pt x="41" y="152"/>
                    <a:pt x="44" y="151"/>
                  </a:cubicBezTo>
                  <a:cubicBezTo>
                    <a:pt x="46" y="150"/>
                    <a:pt x="49" y="150"/>
                    <a:pt x="51" y="150"/>
                  </a:cubicBezTo>
                  <a:cubicBezTo>
                    <a:pt x="57" y="150"/>
                    <a:pt x="61" y="153"/>
                    <a:pt x="60" y="159"/>
                  </a:cubicBezTo>
                  <a:cubicBezTo>
                    <a:pt x="58" y="164"/>
                    <a:pt x="58" y="167"/>
                    <a:pt x="58" y="171"/>
                  </a:cubicBezTo>
                  <a:cubicBezTo>
                    <a:pt x="57" y="175"/>
                    <a:pt x="49" y="191"/>
                    <a:pt x="49" y="191"/>
                  </a:cubicBezTo>
                  <a:cubicBezTo>
                    <a:pt x="49" y="191"/>
                    <a:pt x="62" y="182"/>
                    <a:pt x="89" y="171"/>
                  </a:cubicBezTo>
                  <a:cubicBezTo>
                    <a:pt x="115" y="159"/>
                    <a:pt x="131" y="163"/>
                    <a:pt x="131" y="163"/>
                  </a:cubicBezTo>
                  <a:cubicBezTo>
                    <a:pt x="131" y="163"/>
                    <a:pt x="118" y="132"/>
                    <a:pt x="130" y="112"/>
                  </a:cubicBezTo>
                  <a:close/>
                  <a:moveTo>
                    <a:pt x="104" y="76"/>
                  </a:moveTo>
                  <a:cubicBezTo>
                    <a:pt x="103" y="75"/>
                    <a:pt x="102" y="73"/>
                    <a:pt x="101" y="72"/>
                  </a:cubicBezTo>
                  <a:cubicBezTo>
                    <a:pt x="70" y="114"/>
                    <a:pt x="70" y="114"/>
                    <a:pt x="70" y="114"/>
                  </a:cubicBezTo>
                  <a:cubicBezTo>
                    <a:pt x="76" y="78"/>
                    <a:pt x="76" y="78"/>
                    <a:pt x="76" y="78"/>
                  </a:cubicBezTo>
                  <a:cubicBezTo>
                    <a:pt x="63" y="78"/>
                    <a:pt x="63" y="78"/>
                    <a:pt x="63" y="78"/>
                  </a:cubicBezTo>
                  <a:cubicBezTo>
                    <a:pt x="68" y="59"/>
                    <a:pt x="68" y="59"/>
                    <a:pt x="68" y="59"/>
                  </a:cubicBezTo>
                  <a:cubicBezTo>
                    <a:pt x="66" y="59"/>
                    <a:pt x="64" y="59"/>
                    <a:pt x="62" y="59"/>
                  </a:cubicBezTo>
                  <a:cubicBezTo>
                    <a:pt x="37" y="62"/>
                    <a:pt x="30" y="36"/>
                    <a:pt x="49" y="22"/>
                  </a:cubicBezTo>
                  <a:cubicBezTo>
                    <a:pt x="49" y="21"/>
                    <a:pt x="49" y="21"/>
                    <a:pt x="49" y="21"/>
                  </a:cubicBezTo>
                  <a:cubicBezTo>
                    <a:pt x="49" y="21"/>
                    <a:pt x="49" y="21"/>
                    <a:pt x="49" y="21"/>
                  </a:cubicBezTo>
                  <a:cubicBezTo>
                    <a:pt x="49" y="21"/>
                    <a:pt x="49" y="21"/>
                    <a:pt x="49" y="21"/>
                  </a:cubicBezTo>
                  <a:cubicBezTo>
                    <a:pt x="50" y="21"/>
                    <a:pt x="50" y="21"/>
                    <a:pt x="50" y="21"/>
                  </a:cubicBezTo>
                  <a:cubicBezTo>
                    <a:pt x="59" y="14"/>
                    <a:pt x="70" y="11"/>
                    <a:pt x="82" y="11"/>
                  </a:cubicBezTo>
                  <a:cubicBezTo>
                    <a:pt x="106" y="11"/>
                    <a:pt x="127" y="26"/>
                    <a:pt x="135" y="48"/>
                  </a:cubicBezTo>
                  <a:cubicBezTo>
                    <a:pt x="138" y="57"/>
                    <a:pt x="138" y="63"/>
                    <a:pt x="135" y="70"/>
                  </a:cubicBezTo>
                  <a:cubicBezTo>
                    <a:pt x="130" y="82"/>
                    <a:pt x="108" y="83"/>
                    <a:pt x="104" y="76"/>
                  </a:cubicBezTo>
                  <a:close/>
                  <a:moveTo>
                    <a:pt x="90" y="61"/>
                  </a:moveTo>
                  <a:cubicBezTo>
                    <a:pt x="103" y="61"/>
                    <a:pt x="103" y="61"/>
                    <a:pt x="103" y="61"/>
                  </a:cubicBezTo>
                  <a:cubicBezTo>
                    <a:pt x="75" y="102"/>
                    <a:pt x="75" y="102"/>
                    <a:pt x="75" y="102"/>
                  </a:cubicBezTo>
                  <a:cubicBezTo>
                    <a:pt x="81" y="74"/>
                    <a:pt x="81" y="74"/>
                    <a:pt x="81" y="74"/>
                  </a:cubicBezTo>
                  <a:cubicBezTo>
                    <a:pt x="68" y="74"/>
                    <a:pt x="68" y="74"/>
                    <a:pt x="68" y="74"/>
                  </a:cubicBezTo>
                  <a:cubicBezTo>
                    <a:pt x="76" y="40"/>
                    <a:pt x="76" y="40"/>
                    <a:pt x="76" y="40"/>
                  </a:cubicBezTo>
                  <a:cubicBezTo>
                    <a:pt x="97" y="40"/>
                    <a:pt x="97" y="40"/>
                    <a:pt x="97" y="40"/>
                  </a:cubicBezTo>
                  <a:lnTo>
                    <a:pt x="90" y="6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/>
            </a:p>
          </p:txBody>
        </p:sp>
        <p:sp>
          <p:nvSpPr>
            <p:cNvPr id="13" name="ïšľidè">
              <a:extLst>
                <a:ext uri="{FF2B5EF4-FFF2-40B4-BE49-F238E27FC236}">
                  <a16:creationId xmlns:a16="http://schemas.microsoft.com/office/drawing/2014/main" id="{0DFCEDB9-27AC-45C9-A605-03326E95E986}"/>
                </a:ext>
              </a:extLst>
            </p:cNvPr>
            <p:cNvSpPr/>
            <p:nvPr/>
          </p:nvSpPr>
          <p:spPr bwMode="auto">
            <a:xfrm>
              <a:off x="6531567" y="2318697"/>
              <a:ext cx="436394" cy="564819"/>
            </a:xfrm>
            <a:custGeom>
              <a:avLst/>
              <a:gdLst>
                <a:gd name="T0" fmla="*/ 130 w 148"/>
                <a:gd name="T1" fmla="*/ 112 h 191"/>
                <a:gd name="T2" fmla="*/ 148 w 148"/>
                <a:gd name="T3" fmla="*/ 67 h 191"/>
                <a:gd name="T4" fmla="*/ 82 w 148"/>
                <a:gd name="T5" fmla="*/ 0 h 191"/>
                <a:gd name="T6" fmla="*/ 45 w 148"/>
                <a:gd name="T7" fmla="*/ 12 h 191"/>
                <a:gd name="T8" fmla="*/ 44 w 148"/>
                <a:gd name="T9" fmla="*/ 12 h 191"/>
                <a:gd name="T10" fmla="*/ 43 w 148"/>
                <a:gd name="T11" fmla="*/ 13 h 191"/>
                <a:gd name="T12" fmla="*/ 28 w 148"/>
                <a:gd name="T13" fmla="*/ 28 h 191"/>
                <a:gd name="T14" fmla="*/ 17 w 148"/>
                <a:gd name="T15" fmla="*/ 53 h 191"/>
                <a:gd name="T16" fmla="*/ 20 w 148"/>
                <a:gd name="T17" fmla="*/ 74 h 191"/>
                <a:gd name="T18" fmla="*/ 2 w 148"/>
                <a:gd name="T19" fmla="*/ 101 h 191"/>
                <a:gd name="T20" fmla="*/ 7 w 148"/>
                <a:gd name="T21" fmla="*/ 110 h 191"/>
                <a:gd name="T22" fmla="*/ 18 w 148"/>
                <a:gd name="T23" fmla="*/ 110 h 191"/>
                <a:gd name="T24" fmla="*/ 19 w 148"/>
                <a:gd name="T25" fmla="*/ 118 h 191"/>
                <a:gd name="T26" fmla="*/ 22 w 148"/>
                <a:gd name="T27" fmla="*/ 122 h 191"/>
                <a:gd name="T28" fmla="*/ 20 w 148"/>
                <a:gd name="T29" fmla="*/ 129 h 191"/>
                <a:gd name="T30" fmla="*/ 25 w 148"/>
                <a:gd name="T31" fmla="*/ 133 h 191"/>
                <a:gd name="T32" fmla="*/ 35 w 148"/>
                <a:gd name="T33" fmla="*/ 152 h 191"/>
                <a:gd name="T34" fmla="*/ 44 w 148"/>
                <a:gd name="T35" fmla="*/ 151 h 191"/>
                <a:gd name="T36" fmla="*/ 51 w 148"/>
                <a:gd name="T37" fmla="*/ 150 h 191"/>
                <a:gd name="T38" fmla="*/ 60 w 148"/>
                <a:gd name="T39" fmla="*/ 159 h 191"/>
                <a:gd name="T40" fmla="*/ 58 w 148"/>
                <a:gd name="T41" fmla="*/ 171 h 191"/>
                <a:gd name="T42" fmla="*/ 49 w 148"/>
                <a:gd name="T43" fmla="*/ 191 h 191"/>
                <a:gd name="T44" fmla="*/ 89 w 148"/>
                <a:gd name="T45" fmla="*/ 171 h 191"/>
                <a:gd name="T46" fmla="*/ 131 w 148"/>
                <a:gd name="T47" fmla="*/ 163 h 191"/>
                <a:gd name="T48" fmla="*/ 130 w 148"/>
                <a:gd name="T49" fmla="*/ 112 h 191"/>
                <a:gd name="T50" fmla="*/ 104 w 148"/>
                <a:gd name="T51" fmla="*/ 76 h 191"/>
                <a:gd name="T52" fmla="*/ 101 w 148"/>
                <a:gd name="T53" fmla="*/ 72 h 191"/>
                <a:gd name="T54" fmla="*/ 70 w 148"/>
                <a:gd name="T55" fmla="*/ 114 h 191"/>
                <a:gd name="T56" fmla="*/ 76 w 148"/>
                <a:gd name="T57" fmla="*/ 78 h 191"/>
                <a:gd name="T58" fmla="*/ 63 w 148"/>
                <a:gd name="T59" fmla="*/ 78 h 191"/>
                <a:gd name="T60" fmla="*/ 68 w 148"/>
                <a:gd name="T61" fmla="*/ 59 h 191"/>
                <a:gd name="T62" fmla="*/ 62 w 148"/>
                <a:gd name="T63" fmla="*/ 59 h 191"/>
                <a:gd name="T64" fmla="*/ 49 w 148"/>
                <a:gd name="T65" fmla="*/ 22 h 191"/>
                <a:gd name="T66" fmla="*/ 49 w 148"/>
                <a:gd name="T67" fmla="*/ 21 h 191"/>
                <a:gd name="T68" fmla="*/ 49 w 148"/>
                <a:gd name="T69" fmla="*/ 21 h 191"/>
                <a:gd name="T70" fmla="*/ 49 w 148"/>
                <a:gd name="T71" fmla="*/ 21 h 191"/>
                <a:gd name="T72" fmla="*/ 50 w 148"/>
                <a:gd name="T73" fmla="*/ 21 h 191"/>
                <a:gd name="T74" fmla="*/ 82 w 148"/>
                <a:gd name="T75" fmla="*/ 11 h 191"/>
                <a:gd name="T76" fmla="*/ 135 w 148"/>
                <a:gd name="T77" fmla="*/ 48 h 191"/>
                <a:gd name="T78" fmla="*/ 135 w 148"/>
                <a:gd name="T79" fmla="*/ 70 h 191"/>
                <a:gd name="T80" fmla="*/ 104 w 148"/>
                <a:gd name="T81" fmla="*/ 76 h 191"/>
                <a:gd name="T82" fmla="*/ 90 w 148"/>
                <a:gd name="T83" fmla="*/ 61 h 191"/>
                <a:gd name="T84" fmla="*/ 103 w 148"/>
                <a:gd name="T85" fmla="*/ 61 h 191"/>
                <a:gd name="T86" fmla="*/ 75 w 148"/>
                <a:gd name="T87" fmla="*/ 102 h 191"/>
                <a:gd name="T88" fmla="*/ 81 w 148"/>
                <a:gd name="T89" fmla="*/ 74 h 191"/>
                <a:gd name="T90" fmla="*/ 68 w 148"/>
                <a:gd name="T91" fmla="*/ 74 h 191"/>
                <a:gd name="T92" fmla="*/ 76 w 148"/>
                <a:gd name="T93" fmla="*/ 40 h 191"/>
                <a:gd name="T94" fmla="*/ 97 w 148"/>
                <a:gd name="T95" fmla="*/ 40 h 191"/>
                <a:gd name="T96" fmla="*/ 90 w 148"/>
                <a:gd name="T97" fmla="*/ 61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48" h="191">
                  <a:moveTo>
                    <a:pt x="130" y="112"/>
                  </a:moveTo>
                  <a:cubicBezTo>
                    <a:pt x="142" y="92"/>
                    <a:pt x="148" y="84"/>
                    <a:pt x="148" y="67"/>
                  </a:cubicBezTo>
                  <a:cubicBezTo>
                    <a:pt x="148" y="30"/>
                    <a:pt x="118" y="0"/>
                    <a:pt x="82" y="0"/>
                  </a:cubicBezTo>
                  <a:cubicBezTo>
                    <a:pt x="68" y="0"/>
                    <a:pt x="55" y="5"/>
                    <a:pt x="45" y="12"/>
                  </a:cubicBezTo>
                  <a:cubicBezTo>
                    <a:pt x="44" y="12"/>
                    <a:pt x="44" y="12"/>
                    <a:pt x="44" y="12"/>
                  </a:cubicBezTo>
                  <a:cubicBezTo>
                    <a:pt x="44" y="12"/>
                    <a:pt x="44" y="12"/>
                    <a:pt x="43" y="13"/>
                  </a:cubicBezTo>
                  <a:cubicBezTo>
                    <a:pt x="37" y="17"/>
                    <a:pt x="32" y="22"/>
                    <a:pt x="28" y="28"/>
                  </a:cubicBezTo>
                  <a:cubicBezTo>
                    <a:pt x="23" y="35"/>
                    <a:pt x="19" y="44"/>
                    <a:pt x="17" y="53"/>
                  </a:cubicBezTo>
                  <a:cubicBezTo>
                    <a:pt x="14" y="68"/>
                    <a:pt x="20" y="68"/>
                    <a:pt x="20" y="74"/>
                  </a:cubicBezTo>
                  <a:cubicBezTo>
                    <a:pt x="20" y="79"/>
                    <a:pt x="11" y="89"/>
                    <a:pt x="2" y="101"/>
                  </a:cubicBezTo>
                  <a:cubicBezTo>
                    <a:pt x="0" y="104"/>
                    <a:pt x="1" y="110"/>
                    <a:pt x="7" y="110"/>
                  </a:cubicBezTo>
                  <a:cubicBezTo>
                    <a:pt x="18" y="110"/>
                    <a:pt x="18" y="110"/>
                    <a:pt x="18" y="110"/>
                  </a:cubicBezTo>
                  <a:cubicBezTo>
                    <a:pt x="25" y="110"/>
                    <a:pt x="20" y="117"/>
                    <a:pt x="19" y="118"/>
                  </a:cubicBezTo>
                  <a:cubicBezTo>
                    <a:pt x="19" y="119"/>
                    <a:pt x="22" y="122"/>
                    <a:pt x="22" y="122"/>
                  </a:cubicBezTo>
                  <a:cubicBezTo>
                    <a:pt x="22" y="122"/>
                    <a:pt x="18" y="126"/>
                    <a:pt x="20" y="129"/>
                  </a:cubicBezTo>
                  <a:cubicBezTo>
                    <a:pt x="20" y="130"/>
                    <a:pt x="26" y="129"/>
                    <a:pt x="25" y="133"/>
                  </a:cubicBezTo>
                  <a:cubicBezTo>
                    <a:pt x="21" y="150"/>
                    <a:pt x="30" y="152"/>
                    <a:pt x="35" y="152"/>
                  </a:cubicBezTo>
                  <a:cubicBezTo>
                    <a:pt x="38" y="152"/>
                    <a:pt x="41" y="152"/>
                    <a:pt x="44" y="151"/>
                  </a:cubicBezTo>
                  <a:cubicBezTo>
                    <a:pt x="46" y="150"/>
                    <a:pt x="49" y="150"/>
                    <a:pt x="51" y="150"/>
                  </a:cubicBezTo>
                  <a:cubicBezTo>
                    <a:pt x="57" y="150"/>
                    <a:pt x="61" y="153"/>
                    <a:pt x="60" y="159"/>
                  </a:cubicBezTo>
                  <a:cubicBezTo>
                    <a:pt x="58" y="164"/>
                    <a:pt x="58" y="167"/>
                    <a:pt x="58" y="171"/>
                  </a:cubicBezTo>
                  <a:cubicBezTo>
                    <a:pt x="57" y="175"/>
                    <a:pt x="49" y="191"/>
                    <a:pt x="49" y="191"/>
                  </a:cubicBezTo>
                  <a:cubicBezTo>
                    <a:pt x="49" y="191"/>
                    <a:pt x="62" y="182"/>
                    <a:pt x="89" y="171"/>
                  </a:cubicBezTo>
                  <a:cubicBezTo>
                    <a:pt x="115" y="159"/>
                    <a:pt x="131" y="163"/>
                    <a:pt x="131" y="163"/>
                  </a:cubicBezTo>
                  <a:cubicBezTo>
                    <a:pt x="131" y="163"/>
                    <a:pt x="118" y="132"/>
                    <a:pt x="130" y="112"/>
                  </a:cubicBezTo>
                  <a:close/>
                  <a:moveTo>
                    <a:pt x="104" y="76"/>
                  </a:moveTo>
                  <a:cubicBezTo>
                    <a:pt x="103" y="75"/>
                    <a:pt x="102" y="73"/>
                    <a:pt x="101" y="72"/>
                  </a:cubicBezTo>
                  <a:cubicBezTo>
                    <a:pt x="70" y="114"/>
                    <a:pt x="70" y="114"/>
                    <a:pt x="70" y="114"/>
                  </a:cubicBezTo>
                  <a:cubicBezTo>
                    <a:pt x="76" y="78"/>
                    <a:pt x="76" y="78"/>
                    <a:pt x="76" y="78"/>
                  </a:cubicBezTo>
                  <a:cubicBezTo>
                    <a:pt x="63" y="78"/>
                    <a:pt x="63" y="78"/>
                    <a:pt x="63" y="78"/>
                  </a:cubicBezTo>
                  <a:cubicBezTo>
                    <a:pt x="68" y="59"/>
                    <a:pt x="68" y="59"/>
                    <a:pt x="68" y="59"/>
                  </a:cubicBezTo>
                  <a:cubicBezTo>
                    <a:pt x="66" y="59"/>
                    <a:pt x="64" y="59"/>
                    <a:pt x="62" y="59"/>
                  </a:cubicBezTo>
                  <a:cubicBezTo>
                    <a:pt x="37" y="62"/>
                    <a:pt x="30" y="36"/>
                    <a:pt x="49" y="22"/>
                  </a:cubicBezTo>
                  <a:cubicBezTo>
                    <a:pt x="49" y="21"/>
                    <a:pt x="49" y="21"/>
                    <a:pt x="49" y="21"/>
                  </a:cubicBezTo>
                  <a:cubicBezTo>
                    <a:pt x="49" y="21"/>
                    <a:pt x="49" y="21"/>
                    <a:pt x="49" y="21"/>
                  </a:cubicBezTo>
                  <a:cubicBezTo>
                    <a:pt x="49" y="21"/>
                    <a:pt x="49" y="21"/>
                    <a:pt x="49" y="21"/>
                  </a:cubicBezTo>
                  <a:cubicBezTo>
                    <a:pt x="50" y="21"/>
                    <a:pt x="50" y="21"/>
                    <a:pt x="50" y="21"/>
                  </a:cubicBezTo>
                  <a:cubicBezTo>
                    <a:pt x="59" y="14"/>
                    <a:pt x="70" y="11"/>
                    <a:pt x="82" y="11"/>
                  </a:cubicBezTo>
                  <a:cubicBezTo>
                    <a:pt x="106" y="11"/>
                    <a:pt x="127" y="26"/>
                    <a:pt x="135" y="48"/>
                  </a:cubicBezTo>
                  <a:cubicBezTo>
                    <a:pt x="138" y="57"/>
                    <a:pt x="138" y="63"/>
                    <a:pt x="135" y="70"/>
                  </a:cubicBezTo>
                  <a:cubicBezTo>
                    <a:pt x="130" y="82"/>
                    <a:pt x="108" y="83"/>
                    <a:pt x="104" y="76"/>
                  </a:cubicBezTo>
                  <a:close/>
                  <a:moveTo>
                    <a:pt x="90" y="61"/>
                  </a:moveTo>
                  <a:cubicBezTo>
                    <a:pt x="103" y="61"/>
                    <a:pt x="103" y="61"/>
                    <a:pt x="103" y="61"/>
                  </a:cubicBezTo>
                  <a:cubicBezTo>
                    <a:pt x="75" y="102"/>
                    <a:pt x="75" y="102"/>
                    <a:pt x="75" y="102"/>
                  </a:cubicBezTo>
                  <a:cubicBezTo>
                    <a:pt x="81" y="74"/>
                    <a:pt x="81" y="74"/>
                    <a:pt x="81" y="74"/>
                  </a:cubicBezTo>
                  <a:cubicBezTo>
                    <a:pt x="68" y="74"/>
                    <a:pt x="68" y="74"/>
                    <a:pt x="68" y="74"/>
                  </a:cubicBezTo>
                  <a:cubicBezTo>
                    <a:pt x="76" y="40"/>
                    <a:pt x="76" y="40"/>
                    <a:pt x="76" y="40"/>
                  </a:cubicBezTo>
                  <a:cubicBezTo>
                    <a:pt x="97" y="40"/>
                    <a:pt x="97" y="40"/>
                    <a:pt x="97" y="40"/>
                  </a:cubicBezTo>
                  <a:lnTo>
                    <a:pt x="90" y="6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/>
            </a:p>
          </p:txBody>
        </p:sp>
        <p:grpSp>
          <p:nvGrpSpPr>
            <p:cNvPr id="14" name="iśḻîďe">
              <a:extLst>
                <a:ext uri="{FF2B5EF4-FFF2-40B4-BE49-F238E27FC236}">
                  <a16:creationId xmlns:a16="http://schemas.microsoft.com/office/drawing/2014/main" id="{D5CFC6AF-A87E-4165-AD21-33E5BFE17307}"/>
                </a:ext>
              </a:extLst>
            </p:cNvPr>
            <p:cNvGrpSpPr/>
            <p:nvPr/>
          </p:nvGrpSpPr>
          <p:grpSpPr>
            <a:xfrm>
              <a:off x="8383173" y="1467032"/>
              <a:ext cx="3128863" cy="1225771"/>
              <a:chOff x="7462938" y="1282818"/>
              <a:chExt cx="3128863" cy="1225771"/>
            </a:xfrm>
          </p:grpSpPr>
          <p:sp>
            <p:nvSpPr>
              <p:cNvPr id="27" name="iṡļîḓê">
                <a:extLst>
                  <a:ext uri="{FF2B5EF4-FFF2-40B4-BE49-F238E27FC236}">
                    <a16:creationId xmlns:a16="http://schemas.microsoft.com/office/drawing/2014/main" id="{CEFF1BB2-F517-4788-9B9E-112528C05D00}"/>
                  </a:ext>
                </a:extLst>
              </p:cNvPr>
              <p:cNvSpPr/>
              <p:nvPr/>
            </p:nvSpPr>
            <p:spPr>
              <a:xfrm>
                <a:off x="7462938" y="1497294"/>
                <a:ext cx="801588" cy="801586"/>
              </a:xfrm>
              <a:prstGeom prst="ellipse">
                <a:avLst/>
              </a:prstGeom>
              <a:solidFill>
                <a:schemeClr val="bg1"/>
              </a:solidFill>
              <a:ln w="190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/>
              <a:p>
                <a:pPr algn="ctr"/>
                <a:r>
                  <a:rPr lang="en-US" sz="1400" b="1" dirty="0">
                    <a:solidFill>
                      <a:schemeClr val="accent1"/>
                    </a:solidFill>
                  </a:rPr>
                  <a:t>25%</a:t>
                </a:r>
              </a:p>
            </p:txBody>
          </p:sp>
          <p:sp>
            <p:nvSpPr>
              <p:cNvPr id="28" name="ï$ľiďe">
                <a:extLst>
                  <a:ext uri="{FF2B5EF4-FFF2-40B4-BE49-F238E27FC236}">
                    <a16:creationId xmlns:a16="http://schemas.microsoft.com/office/drawing/2014/main" id="{BD847B9A-6216-4796-805A-0D68C20E709D}"/>
                  </a:ext>
                </a:extLst>
              </p:cNvPr>
              <p:cNvSpPr txBox="1"/>
              <p:nvPr/>
            </p:nvSpPr>
            <p:spPr>
              <a:xfrm>
                <a:off x="8383781" y="1282818"/>
                <a:ext cx="2208020" cy="527057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b" anchorCtr="0">
                <a:normAutofit/>
              </a:bodyPr>
              <a:lstStyle/>
              <a:p>
                <a:pPr>
                  <a:lnSpc>
                    <a:spcPct val="150000"/>
                  </a:lnSpc>
                </a:pPr>
                <a:r>
                  <a:rPr lang="zh-CN" altLang="en-US" sz="1600" b="1" dirty="0"/>
                  <a:t>后端设计</a:t>
                </a:r>
              </a:p>
            </p:txBody>
          </p:sp>
          <p:sp>
            <p:nvSpPr>
              <p:cNvPr id="29" name="íṥlîďè">
                <a:extLst>
                  <a:ext uri="{FF2B5EF4-FFF2-40B4-BE49-F238E27FC236}">
                    <a16:creationId xmlns:a16="http://schemas.microsoft.com/office/drawing/2014/main" id="{C9A77529-7F84-41A8-9CB9-885A3301B92B}"/>
                  </a:ext>
                </a:extLst>
              </p:cNvPr>
              <p:cNvSpPr txBox="1"/>
              <p:nvPr/>
            </p:nvSpPr>
            <p:spPr>
              <a:xfrm>
                <a:off x="8383781" y="1809874"/>
                <a:ext cx="2208020" cy="698715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t" anchorCtr="0">
                <a:normAutofit/>
              </a:bodyPr>
              <a:lstStyle/>
              <a:p>
                <a:pPr>
                  <a:lnSpc>
                    <a:spcPct val="120000"/>
                  </a:lnSpc>
                </a:pPr>
                <a:r>
                  <a:rPr lang="en-US" altLang="zh-CN" sz="1100" dirty="0"/>
                  <a:t>PHP</a:t>
                </a:r>
                <a:r>
                  <a:rPr lang="zh-CN" altLang="en-US" sz="1100" dirty="0"/>
                  <a:t>与</a:t>
                </a:r>
                <a:r>
                  <a:rPr lang="en-US" altLang="zh-CN" sz="1100" dirty="0"/>
                  <a:t>MySQL</a:t>
                </a:r>
                <a:r>
                  <a:rPr lang="zh-CN" altLang="en-US" sz="1100" dirty="0"/>
                  <a:t>数据库交互</a:t>
                </a:r>
                <a:endParaRPr lang="en-US" altLang="zh-CN" sz="1100" dirty="0"/>
              </a:p>
            </p:txBody>
          </p:sp>
        </p:grpSp>
        <p:grpSp>
          <p:nvGrpSpPr>
            <p:cNvPr id="15" name="îṩlíḋé">
              <a:extLst>
                <a:ext uri="{FF2B5EF4-FFF2-40B4-BE49-F238E27FC236}">
                  <a16:creationId xmlns:a16="http://schemas.microsoft.com/office/drawing/2014/main" id="{A96C7890-AB49-49AD-9466-1F90DC8F509E}"/>
                </a:ext>
              </a:extLst>
            </p:cNvPr>
            <p:cNvGrpSpPr/>
            <p:nvPr/>
          </p:nvGrpSpPr>
          <p:grpSpPr>
            <a:xfrm>
              <a:off x="8383173" y="4094404"/>
              <a:ext cx="3128863" cy="1225771"/>
              <a:chOff x="7462938" y="1282818"/>
              <a:chExt cx="3128863" cy="1225771"/>
            </a:xfrm>
          </p:grpSpPr>
          <p:sp>
            <p:nvSpPr>
              <p:cNvPr id="24" name="ïṧļíḍè">
                <a:extLst>
                  <a:ext uri="{FF2B5EF4-FFF2-40B4-BE49-F238E27FC236}">
                    <a16:creationId xmlns:a16="http://schemas.microsoft.com/office/drawing/2014/main" id="{600FC8BB-47CC-4837-94E1-2A25E8318371}"/>
                  </a:ext>
                </a:extLst>
              </p:cNvPr>
              <p:cNvSpPr/>
              <p:nvPr/>
            </p:nvSpPr>
            <p:spPr>
              <a:xfrm>
                <a:off x="7462938" y="1497294"/>
                <a:ext cx="801588" cy="801586"/>
              </a:xfrm>
              <a:prstGeom prst="ellipse">
                <a:avLst/>
              </a:prstGeom>
              <a:solidFill>
                <a:schemeClr val="bg1"/>
              </a:solidFill>
              <a:ln w="190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/>
              <a:p>
                <a:pPr algn="ctr"/>
                <a:r>
                  <a:rPr lang="en-US" sz="1400" b="1" dirty="0">
                    <a:solidFill>
                      <a:schemeClr val="accent1"/>
                    </a:solidFill>
                  </a:rPr>
                  <a:t>20%</a:t>
                </a:r>
              </a:p>
            </p:txBody>
          </p:sp>
          <p:sp>
            <p:nvSpPr>
              <p:cNvPr id="25" name="í$1îḓe">
                <a:extLst>
                  <a:ext uri="{FF2B5EF4-FFF2-40B4-BE49-F238E27FC236}">
                    <a16:creationId xmlns:a16="http://schemas.microsoft.com/office/drawing/2014/main" id="{DF42FED7-9046-4C3B-BE48-1AFD47125170}"/>
                  </a:ext>
                </a:extLst>
              </p:cNvPr>
              <p:cNvSpPr txBox="1"/>
              <p:nvPr/>
            </p:nvSpPr>
            <p:spPr>
              <a:xfrm>
                <a:off x="8383781" y="1282818"/>
                <a:ext cx="2208020" cy="527057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b" anchorCtr="0">
                <a:normAutofit/>
              </a:bodyPr>
              <a:lstStyle/>
              <a:p>
                <a:pPr>
                  <a:lnSpc>
                    <a:spcPct val="150000"/>
                  </a:lnSpc>
                </a:pPr>
                <a:r>
                  <a:rPr lang="zh-CN" altLang="en-US" sz="1600" b="1" dirty="0"/>
                  <a:t>编写文档</a:t>
                </a:r>
              </a:p>
            </p:txBody>
          </p:sp>
          <p:sp>
            <p:nvSpPr>
              <p:cNvPr id="26" name="íṡḻíḓé">
                <a:extLst>
                  <a:ext uri="{FF2B5EF4-FFF2-40B4-BE49-F238E27FC236}">
                    <a16:creationId xmlns:a16="http://schemas.microsoft.com/office/drawing/2014/main" id="{8E026C27-7F62-441D-AD53-0550E9DE6B8B}"/>
                  </a:ext>
                </a:extLst>
              </p:cNvPr>
              <p:cNvSpPr txBox="1"/>
              <p:nvPr/>
            </p:nvSpPr>
            <p:spPr>
              <a:xfrm>
                <a:off x="8383781" y="1809874"/>
                <a:ext cx="2208020" cy="698715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t" anchorCtr="0">
                <a:normAutofit/>
              </a:bodyPr>
              <a:lstStyle/>
              <a:p>
                <a:pPr>
                  <a:lnSpc>
                    <a:spcPct val="120000"/>
                  </a:lnSpc>
                </a:pPr>
                <a:r>
                  <a:rPr lang="zh-CN" altLang="en-US" sz="1100" dirty="0"/>
                  <a:t>设计并编写文档，部署手册</a:t>
                </a:r>
                <a:endParaRPr lang="en-US" altLang="zh-CN" sz="1100" dirty="0"/>
              </a:p>
            </p:txBody>
          </p:sp>
        </p:grpSp>
        <p:grpSp>
          <p:nvGrpSpPr>
            <p:cNvPr id="16" name="is1îḓe">
              <a:extLst>
                <a:ext uri="{FF2B5EF4-FFF2-40B4-BE49-F238E27FC236}">
                  <a16:creationId xmlns:a16="http://schemas.microsoft.com/office/drawing/2014/main" id="{56ECE9BC-54EB-4966-A871-332D11A18702}"/>
                </a:ext>
              </a:extLst>
            </p:cNvPr>
            <p:cNvGrpSpPr/>
            <p:nvPr/>
          </p:nvGrpSpPr>
          <p:grpSpPr>
            <a:xfrm>
              <a:off x="664841" y="4094404"/>
              <a:ext cx="3133891" cy="1225771"/>
              <a:chOff x="664841" y="4094404"/>
              <a:chExt cx="3133891" cy="1225771"/>
            </a:xfrm>
          </p:grpSpPr>
          <p:sp>
            <p:nvSpPr>
              <p:cNvPr id="21" name="iślîďê">
                <a:extLst>
                  <a:ext uri="{FF2B5EF4-FFF2-40B4-BE49-F238E27FC236}">
                    <a16:creationId xmlns:a16="http://schemas.microsoft.com/office/drawing/2014/main" id="{0972E277-4637-4DE8-B544-12211AF1F3C8}"/>
                  </a:ext>
                </a:extLst>
              </p:cNvPr>
              <p:cNvSpPr/>
              <p:nvPr/>
            </p:nvSpPr>
            <p:spPr>
              <a:xfrm>
                <a:off x="2997144" y="4308880"/>
                <a:ext cx="801588" cy="801586"/>
              </a:xfrm>
              <a:prstGeom prst="ellipse">
                <a:avLst/>
              </a:prstGeom>
              <a:solidFill>
                <a:schemeClr val="bg1"/>
              </a:solidFill>
              <a:ln w="190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/>
              <a:p>
                <a:pPr algn="ctr"/>
                <a:r>
                  <a:rPr lang="en-US" sz="1400" b="1" dirty="0">
                    <a:solidFill>
                      <a:schemeClr val="accent1"/>
                    </a:solidFill>
                  </a:rPr>
                  <a:t>45%</a:t>
                </a:r>
              </a:p>
            </p:txBody>
          </p:sp>
          <p:sp>
            <p:nvSpPr>
              <p:cNvPr id="22" name="íṡḷïďé">
                <a:extLst>
                  <a:ext uri="{FF2B5EF4-FFF2-40B4-BE49-F238E27FC236}">
                    <a16:creationId xmlns:a16="http://schemas.microsoft.com/office/drawing/2014/main" id="{BB9C2937-054B-4076-9E13-A5675D7A1CFA}"/>
                  </a:ext>
                </a:extLst>
              </p:cNvPr>
              <p:cNvSpPr txBox="1"/>
              <p:nvPr/>
            </p:nvSpPr>
            <p:spPr>
              <a:xfrm>
                <a:off x="664841" y="4094404"/>
                <a:ext cx="2208020" cy="527057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b" anchorCtr="0">
                <a:normAutofit/>
              </a:bodyPr>
              <a:lstStyle/>
              <a:p>
                <a:pPr algn="r">
                  <a:lnSpc>
                    <a:spcPct val="150000"/>
                  </a:lnSpc>
                </a:pPr>
                <a:r>
                  <a:rPr lang="zh-CN" altLang="en-US" sz="1600" b="1" dirty="0"/>
                  <a:t>前端设计</a:t>
                </a:r>
              </a:p>
            </p:txBody>
          </p:sp>
          <p:sp>
            <p:nvSpPr>
              <p:cNvPr id="23" name="ísḻiḋe">
                <a:extLst>
                  <a:ext uri="{FF2B5EF4-FFF2-40B4-BE49-F238E27FC236}">
                    <a16:creationId xmlns:a16="http://schemas.microsoft.com/office/drawing/2014/main" id="{00AF1241-C9C1-4B13-8DFD-5C8FA56889FB}"/>
                  </a:ext>
                </a:extLst>
              </p:cNvPr>
              <p:cNvSpPr txBox="1"/>
              <p:nvPr/>
            </p:nvSpPr>
            <p:spPr>
              <a:xfrm>
                <a:off x="664841" y="4621460"/>
                <a:ext cx="2208020" cy="698715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t" anchorCtr="0">
                <a:normAutofit/>
              </a:bodyPr>
              <a:lstStyle/>
              <a:p>
                <a:pPr algn="r">
                  <a:lnSpc>
                    <a:spcPct val="120000"/>
                  </a:lnSpc>
                </a:pPr>
                <a:r>
                  <a:rPr lang="zh-CN" altLang="en-US" sz="1100" dirty="0"/>
                  <a:t>使用</a:t>
                </a:r>
                <a:r>
                  <a:rPr lang="en-US" altLang="zh-CN" sz="1100" dirty="0"/>
                  <a:t>Vue + ElementUI</a:t>
                </a:r>
                <a:r>
                  <a:rPr lang="zh-CN" altLang="en-US" sz="1100" dirty="0"/>
                  <a:t>设计前端优化界面</a:t>
                </a:r>
                <a:endParaRPr lang="en-US" altLang="zh-CN" sz="1100" dirty="0"/>
              </a:p>
            </p:txBody>
          </p:sp>
        </p:grpSp>
        <p:grpSp>
          <p:nvGrpSpPr>
            <p:cNvPr id="17" name="îšḻïďê">
              <a:extLst>
                <a:ext uri="{FF2B5EF4-FFF2-40B4-BE49-F238E27FC236}">
                  <a16:creationId xmlns:a16="http://schemas.microsoft.com/office/drawing/2014/main" id="{D3250D4E-035D-4C16-8474-72FDD3B5D2C6}"/>
                </a:ext>
              </a:extLst>
            </p:cNvPr>
            <p:cNvGrpSpPr/>
            <p:nvPr/>
          </p:nvGrpSpPr>
          <p:grpSpPr>
            <a:xfrm>
              <a:off x="664841" y="1467032"/>
              <a:ext cx="3133891" cy="1225771"/>
              <a:chOff x="664841" y="4094404"/>
              <a:chExt cx="3133891" cy="1225771"/>
            </a:xfrm>
          </p:grpSpPr>
          <p:sp>
            <p:nvSpPr>
              <p:cNvPr id="18" name="ïŝḻíḍè">
                <a:extLst>
                  <a:ext uri="{FF2B5EF4-FFF2-40B4-BE49-F238E27FC236}">
                    <a16:creationId xmlns:a16="http://schemas.microsoft.com/office/drawing/2014/main" id="{CC202C43-86ED-4142-A31F-705ECACE6EC8}"/>
                  </a:ext>
                </a:extLst>
              </p:cNvPr>
              <p:cNvSpPr/>
              <p:nvPr/>
            </p:nvSpPr>
            <p:spPr>
              <a:xfrm>
                <a:off x="2997144" y="4308880"/>
                <a:ext cx="801588" cy="801586"/>
              </a:xfrm>
              <a:prstGeom prst="ellipse">
                <a:avLst/>
              </a:prstGeom>
              <a:solidFill>
                <a:schemeClr val="bg1"/>
              </a:solidFill>
              <a:ln w="190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/>
              <a:p>
                <a:pPr algn="ctr"/>
                <a:r>
                  <a:rPr lang="en-US" sz="1400" b="1" dirty="0">
                    <a:solidFill>
                      <a:schemeClr val="accent1"/>
                    </a:solidFill>
                  </a:rPr>
                  <a:t>10</a:t>
                </a:r>
                <a:r>
                  <a:rPr lang="en-US" sz="100" b="1" dirty="0">
                    <a:solidFill>
                      <a:schemeClr val="accent1"/>
                    </a:solidFill>
                  </a:rPr>
                  <a:t>25</a:t>
                </a:r>
                <a:r>
                  <a:rPr lang="en-US" sz="1400" b="1" dirty="0">
                    <a:solidFill>
                      <a:schemeClr val="accent1"/>
                    </a:solidFill>
                  </a:rPr>
                  <a:t>%</a:t>
                </a:r>
              </a:p>
            </p:txBody>
          </p:sp>
          <p:sp>
            <p:nvSpPr>
              <p:cNvPr id="19" name="ïSľíḓé">
                <a:extLst>
                  <a:ext uri="{FF2B5EF4-FFF2-40B4-BE49-F238E27FC236}">
                    <a16:creationId xmlns:a16="http://schemas.microsoft.com/office/drawing/2014/main" id="{D7EB7F1F-1E75-4303-8770-2059F0D74E1D}"/>
                  </a:ext>
                </a:extLst>
              </p:cNvPr>
              <p:cNvSpPr txBox="1"/>
              <p:nvPr/>
            </p:nvSpPr>
            <p:spPr>
              <a:xfrm>
                <a:off x="664841" y="4094404"/>
                <a:ext cx="2208020" cy="527057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b" anchorCtr="0">
                <a:normAutofit/>
              </a:bodyPr>
              <a:lstStyle/>
              <a:p>
                <a:pPr algn="r">
                  <a:lnSpc>
                    <a:spcPct val="150000"/>
                  </a:lnSpc>
                </a:pPr>
                <a:r>
                  <a:rPr lang="zh-CN" altLang="en-US" sz="1600" b="1" dirty="0"/>
                  <a:t>数据库设计</a:t>
                </a:r>
              </a:p>
            </p:txBody>
          </p:sp>
          <p:sp>
            <p:nvSpPr>
              <p:cNvPr id="20" name="íşḷîḍé">
                <a:extLst>
                  <a:ext uri="{FF2B5EF4-FFF2-40B4-BE49-F238E27FC236}">
                    <a16:creationId xmlns:a16="http://schemas.microsoft.com/office/drawing/2014/main" id="{5C57641F-4AC1-4B0C-8184-4064FED8E4B7}"/>
                  </a:ext>
                </a:extLst>
              </p:cNvPr>
              <p:cNvSpPr txBox="1"/>
              <p:nvPr/>
            </p:nvSpPr>
            <p:spPr>
              <a:xfrm>
                <a:off x="664841" y="4621460"/>
                <a:ext cx="2208020" cy="698715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t" anchorCtr="0">
                <a:normAutofit/>
              </a:bodyPr>
              <a:lstStyle/>
              <a:p>
                <a:pPr algn="r">
                  <a:lnSpc>
                    <a:spcPct val="120000"/>
                  </a:lnSpc>
                </a:pPr>
                <a:r>
                  <a:rPr lang="zh-CN" altLang="en-US" sz="1100" dirty="0"/>
                  <a:t>单号</a:t>
                </a:r>
                <a:endParaRPr lang="en-US" altLang="zh-CN" sz="1100" dirty="0"/>
              </a:p>
              <a:p>
                <a:pPr algn="r">
                  <a:lnSpc>
                    <a:spcPct val="120000"/>
                  </a:lnSpc>
                </a:pPr>
                <a:r>
                  <a:rPr lang="zh-CN" altLang="en-US" sz="1100" dirty="0"/>
                  <a:t>名称</a:t>
                </a:r>
                <a:endParaRPr lang="en-US" altLang="zh-CN" sz="1100" dirty="0"/>
              </a:p>
              <a:p>
                <a:pPr algn="r">
                  <a:lnSpc>
                    <a:spcPct val="120000"/>
                  </a:lnSpc>
                </a:pPr>
                <a:r>
                  <a:rPr lang="zh-CN" altLang="en-US" sz="1100" dirty="0"/>
                  <a:t>收货人信息</a:t>
                </a:r>
                <a:endParaRPr lang="en-US" altLang="zh-CN" sz="1100" dirty="0"/>
              </a:p>
            </p:txBody>
          </p:sp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192411691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6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zh-CN" altLang="en-US" sz="6000" dirty="0"/>
              <a:t>感谢您的观看</a:t>
            </a:r>
            <a:br>
              <a:rPr lang="en-US" altLang="zh-CN" dirty="0"/>
            </a:br>
            <a:endParaRPr lang="zh-CN" altLang="en-US" b="0" dirty="0"/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altLang="zh-CN" dirty="0"/>
              <a:t>iplanc.github.io</a:t>
            </a:r>
            <a:endParaRPr lang="en-US" altLang="en-US" dirty="0"/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zh-CN" altLang="en-US" dirty="0"/>
              <a:t>张洪铭</a:t>
            </a:r>
            <a:endParaRPr lang="en-US" altLang="zh-CN" dirty="0"/>
          </a:p>
        </p:txBody>
      </p:sp>
    </p:spTree>
    <p:custDataLst>
      <p:tags r:id="rId3"/>
    </p:custDataLst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#293108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/>
        </p:nvGrpSpPr>
        <p:grpSpPr>
          <a:xfrm>
            <a:off x="0" y="0"/>
            <a:ext cx="12192000" cy="5676563"/>
            <a:chOff x="0" y="0"/>
            <a:chExt cx="12192000" cy="5676563"/>
          </a:xfrm>
        </p:grpSpPr>
        <p:grpSp>
          <p:nvGrpSpPr>
            <p:cNvPr id="6" name="iŝľîḑê"/>
            <p:cNvGrpSpPr/>
            <p:nvPr/>
          </p:nvGrpSpPr>
          <p:grpSpPr>
            <a:xfrm>
              <a:off x="4112539" y="0"/>
              <a:ext cx="3954222" cy="2092014"/>
              <a:chOff x="6602119" y="3602617"/>
              <a:chExt cx="3954222" cy="2092014"/>
            </a:xfrm>
          </p:grpSpPr>
          <p:sp>
            <p:nvSpPr>
              <p:cNvPr id="28" name="iS1iḓe"/>
              <p:cNvSpPr txBox="1"/>
              <p:nvPr/>
            </p:nvSpPr>
            <p:spPr>
              <a:xfrm>
                <a:off x="8058498" y="4340847"/>
                <a:ext cx="2497843" cy="615553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ctr" anchorCtr="0">
                <a:normAutofit fontScale="92500" lnSpcReduction="20000"/>
              </a:bodyPr>
              <a:lstStyle/>
              <a:p>
                <a:pPr>
                  <a:lnSpc>
                    <a:spcPct val="110000"/>
                  </a:lnSpc>
                </a:pPr>
                <a:r>
                  <a:rPr lang="en-US" altLang="zh-CN" sz="4000">
                    <a:solidFill>
                      <a:schemeClr val="bg1">
                        <a:lumMod val="65000"/>
                      </a:schemeClr>
                    </a:solidFill>
                  </a:rPr>
                  <a:t>O</a:t>
                </a:r>
                <a:r>
                  <a:rPr lang="en-US" altLang="zh-CN" sz="100">
                    <a:solidFill>
                      <a:schemeClr val="bg1">
                        <a:lumMod val="65000"/>
                      </a:schemeClr>
                    </a:solidFill>
                  </a:rPr>
                  <a:t> </a:t>
                </a:r>
                <a:r>
                  <a:rPr lang="en-US" altLang="zh-CN" sz="4000">
                    <a:solidFill>
                      <a:schemeClr val="bg1">
                        <a:lumMod val="65000"/>
                      </a:schemeClr>
                    </a:solidFill>
                  </a:rPr>
                  <a:t>NTENTS</a:t>
                </a:r>
                <a:endParaRPr lang="en-US" altLang="zh-CN" sz="4000" dirty="0">
                  <a:solidFill>
                    <a:schemeClr val="bg1">
                      <a:lumMod val="65000"/>
                    </a:schemeClr>
                  </a:solidFill>
                </a:endParaRPr>
              </a:p>
            </p:txBody>
          </p:sp>
          <p:sp>
            <p:nvSpPr>
              <p:cNvPr id="29" name="îṩḷîḓè"/>
              <p:cNvSpPr/>
              <p:nvPr/>
            </p:nvSpPr>
            <p:spPr>
              <a:xfrm>
                <a:off x="6602119" y="3602617"/>
                <a:ext cx="1764196" cy="2092014"/>
              </a:xfrm>
              <a:prstGeom prst="rect">
                <a:avLst/>
              </a:prstGeom>
              <a:ln>
                <a:noFill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>
                  <a:lnSpc>
                    <a:spcPct val="120000"/>
                  </a:lnSpc>
                </a:pPr>
                <a:r>
                  <a:rPr lang="en-US" altLang="zh-CN" sz="16600" b="1" dirty="0">
                    <a:ln w="76200">
                      <a:solidFill>
                        <a:schemeClr val="bg1"/>
                      </a:solidFill>
                    </a:ln>
                    <a:solidFill>
                      <a:schemeClr val="accent1"/>
                    </a:solidFill>
                  </a:rPr>
                  <a:t>C</a:t>
                </a:r>
              </a:p>
            </p:txBody>
          </p:sp>
        </p:grpSp>
        <p:cxnSp>
          <p:nvCxnSpPr>
            <p:cNvPr id="7" name="直接连接符 6"/>
            <p:cNvCxnSpPr/>
            <p:nvPr/>
          </p:nvCxnSpPr>
          <p:spPr>
            <a:xfrm>
              <a:off x="0" y="2092014"/>
              <a:ext cx="12192000" cy="0"/>
            </a:xfrm>
            <a:prstGeom prst="line">
              <a:avLst/>
            </a:prstGeom>
            <a:ln w="12700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8" name="iSļîḍé"/>
            <p:cNvGrpSpPr/>
            <p:nvPr/>
          </p:nvGrpSpPr>
          <p:grpSpPr>
            <a:xfrm>
              <a:off x="2989667" y="2937844"/>
              <a:ext cx="2750595" cy="1085850"/>
              <a:chOff x="1857452" y="3069409"/>
              <a:chExt cx="2750595" cy="1085850"/>
            </a:xfrm>
          </p:grpSpPr>
          <p:sp>
            <p:nvSpPr>
              <p:cNvPr id="24" name="iṥľiḋê"/>
              <p:cNvSpPr/>
              <p:nvPr/>
            </p:nvSpPr>
            <p:spPr>
              <a:xfrm>
                <a:off x="1857452" y="3245668"/>
                <a:ext cx="757508" cy="733332"/>
              </a:xfrm>
              <a:prstGeom prst="roundRect">
                <a:avLst>
                  <a:gd name="adj" fmla="val 5587"/>
                </a:avLst>
              </a:prstGeom>
              <a:noFill/>
              <a:ln w="12700" cap="rnd">
                <a:solidFill>
                  <a:schemeClr val="bg1">
                    <a:lumMod val="85000"/>
                  </a:schemeClr>
                </a:solidFill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/>
              <a:p>
                <a:pPr algn="ctr" defTabSz="914354"/>
                <a:r>
                  <a:rPr lang="en-US" altLang="zh-CN" sz="2800" b="1">
                    <a:solidFill>
                      <a:schemeClr val="accent1"/>
                    </a:solidFill>
                  </a:rPr>
                  <a:t>0</a:t>
                </a:r>
                <a:r>
                  <a:rPr lang="en-US" altLang="zh-CN" sz="100" b="1">
                    <a:solidFill>
                      <a:schemeClr val="accent1"/>
                    </a:solidFill>
                  </a:rPr>
                  <a:t> </a:t>
                </a:r>
                <a:r>
                  <a:rPr lang="en-US" altLang="zh-CN" sz="2800" b="1">
                    <a:solidFill>
                      <a:schemeClr val="accent1"/>
                    </a:solidFill>
                  </a:rPr>
                  <a:t>1</a:t>
                </a:r>
                <a:endParaRPr lang="zh-CN" altLang="en-US" sz="2800" b="1" dirty="0">
                  <a:solidFill>
                    <a:schemeClr val="accent1"/>
                  </a:solidFill>
                </a:endParaRPr>
              </a:p>
            </p:txBody>
          </p:sp>
          <p:grpSp>
            <p:nvGrpSpPr>
              <p:cNvPr id="25" name="ïsļïḋê"/>
              <p:cNvGrpSpPr/>
              <p:nvPr/>
            </p:nvGrpSpPr>
            <p:grpSpPr>
              <a:xfrm>
                <a:off x="2741709" y="3069409"/>
                <a:ext cx="1866338" cy="1085850"/>
                <a:chOff x="5162831" y="2886075"/>
                <a:chExt cx="1866338" cy="1085850"/>
              </a:xfrm>
            </p:grpSpPr>
            <p:sp>
              <p:nvSpPr>
                <p:cNvPr id="26" name="îṥľïḍê">
                  <a:extLst>
                    <a:ext uri="{FF2B5EF4-FFF2-40B4-BE49-F238E27FC236}">
                      <a16:creationId xmlns:a16="http://schemas.microsoft.com/office/drawing/2014/main" id="{F8E07573-A8E5-42F7-B445-E2E8E3B47ABD}"/>
                    </a:ext>
                  </a:extLst>
                </p:cNvPr>
                <p:cNvSpPr/>
                <p:nvPr/>
              </p:nvSpPr>
              <p:spPr bwMode="auto">
                <a:xfrm>
                  <a:off x="5162831" y="3375774"/>
                  <a:ext cx="1866338" cy="596151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lIns="91440" tIns="45720" rIns="91440" bIns="45720" anchor="t" anchorCtr="0">
                  <a:no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>
                    <a:lnSpc>
                      <a:spcPct val="150000"/>
                    </a:lnSpc>
                  </a:pPr>
                  <a:endParaRPr lang="en-US" altLang="zh-CN" sz="1100" dirty="0"/>
                </a:p>
              </p:txBody>
            </p:sp>
            <p:sp>
              <p:nvSpPr>
                <p:cNvPr id="27" name="íŝlîḓé"/>
                <p:cNvSpPr/>
                <p:nvPr/>
              </p:nvSpPr>
              <p:spPr>
                <a:xfrm>
                  <a:off x="5162831" y="2886075"/>
                  <a:ext cx="1866338" cy="489700"/>
                </a:xfrm>
                <a:prstGeom prst="rect">
                  <a:avLst/>
                </a:prstGeom>
                <a:noFill/>
                <a:ln w="3175" cap="rnd">
                  <a:noFill/>
                  <a:prstDash val="solid"/>
                  <a:round/>
                  <a:headEnd/>
                  <a:tailE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r>
                    <a:rPr lang="zh-CN" altLang="en-US" sz="1600" b="1" dirty="0">
                      <a:solidFill>
                        <a:schemeClr val="tx1"/>
                      </a:solidFill>
                    </a:rPr>
                    <a:t>选题目的与意义</a:t>
                  </a:r>
                  <a:endParaRPr lang="id-ID" altLang="zh-CN" sz="1600" b="1" dirty="0">
                    <a:solidFill>
                      <a:schemeClr val="tx1"/>
                    </a:solidFill>
                  </a:endParaRPr>
                </a:p>
              </p:txBody>
            </p:sp>
          </p:grpSp>
        </p:grpSp>
        <p:grpSp>
          <p:nvGrpSpPr>
            <p:cNvPr id="9" name="iSlíḑê"/>
            <p:cNvGrpSpPr/>
            <p:nvPr/>
          </p:nvGrpSpPr>
          <p:grpSpPr>
            <a:xfrm>
              <a:off x="6439038" y="2937844"/>
              <a:ext cx="2750595" cy="1085850"/>
              <a:chOff x="1857452" y="3069409"/>
              <a:chExt cx="2750595" cy="1085850"/>
            </a:xfrm>
          </p:grpSpPr>
          <p:sp>
            <p:nvSpPr>
              <p:cNvPr id="20" name="íṣlíḍé"/>
              <p:cNvSpPr/>
              <p:nvPr/>
            </p:nvSpPr>
            <p:spPr>
              <a:xfrm>
                <a:off x="1857452" y="3245668"/>
                <a:ext cx="757508" cy="733332"/>
              </a:xfrm>
              <a:prstGeom prst="roundRect">
                <a:avLst>
                  <a:gd name="adj" fmla="val 5587"/>
                </a:avLst>
              </a:prstGeom>
              <a:noFill/>
              <a:ln w="12700" cap="rnd">
                <a:solidFill>
                  <a:schemeClr val="bg1">
                    <a:lumMod val="85000"/>
                  </a:schemeClr>
                </a:solidFill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/>
              <a:p>
                <a:pPr algn="ctr" defTabSz="914354"/>
                <a:r>
                  <a:rPr lang="en-US" altLang="zh-CN" sz="2800" b="1">
                    <a:solidFill>
                      <a:schemeClr val="accent1"/>
                    </a:solidFill>
                  </a:rPr>
                  <a:t>0</a:t>
                </a:r>
                <a:r>
                  <a:rPr lang="en-US" altLang="zh-CN" sz="100" b="1">
                    <a:solidFill>
                      <a:schemeClr val="accent1"/>
                    </a:solidFill>
                  </a:rPr>
                  <a:t> </a:t>
                </a:r>
                <a:r>
                  <a:rPr lang="en-US" altLang="zh-CN" sz="2800" b="1">
                    <a:solidFill>
                      <a:schemeClr val="accent1"/>
                    </a:solidFill>
                  </a:rPr>
                  <a:t>2</a:t>
                </a:r>
                <a:endParaRPr lang="zh-CN" altLang="en-US" sz="2800" b="1" dirty="0">
                  <a:solidFill>
                    <a:schemeClr val="accent1"/>
                  </a:solidFill>
                </a:endParaRPr>
              </a:p>
            </p:txBody>
          </p:sp>
          <p:grpSp>
            <p:nvGrpSpPr>
              <p:cNvPr id="21" name="íSḻïďé"/>
              <p:cNvGrpSpPr/>
              <p:nvPr/>
            </p:nvGrpSpPr>
            <p:grpSpPr>
              <a:xfrm>
                <a:off x="2741709" y="3069409"/>
                <a:ext cx="1866338" cy="1085850"/>
                <a:chOff x="5162831" y="2886075"/>
                <a:chExt cx="1866338" cy="1085850"/>
              </a:xfrm>
            </p:grpSpPr>
            <p:sp>
              <p:nvSpPr>
                <p:cNvPr id="22" name="i$ḷíḍê">
                  <a:extLst>
                    <a:ext uri="{FF2B5EF4-FFF2-40B4-BE49-F238E27FC236}">
                      <a16:creationId xmlns:a16="http://schemas.microsoft.com/office/drawing/2014/main" id="{F8E07573-A8E5-42F7-B445-E2E8E3B47ABD}"/>
                    </a:ext>
                  </a:extLst>
                </p:cNvPr>
                <p:cNvSpPr/>
                <p:nvPr/>
              </p:nvSpPr>
              <p:spPr bwMode="auto">
                <a:xfrm>
                  <a:off x="5162831" y="3375774"/>
                  <a:ext cx="1866338" cy="596151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lIns="91440" tIns="45720" rIns="91440" bIns="45720" anchor="t" anchorCtr="0">
                  <a:no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>
                    <a:lnSpc>
                      <a:spcPct val="150000"/>
                    </a:lnSpc>
                  </a:pPr>
                  <a:endParaRPr lang="en-US" altLang="zh-CN" sz="1100" dirty="0"/>
                </a:p>
              </p:txBody>
            </p:sp>
            <p:sp>
              <p:nvSpPr>
                <p:cNvPr id="23" name="iṧḻîḑe"/>
                <p:cNvSpPr/>
                <p:nvPr/>
              </p:nvSpPr>
              <p:spPr>
                <a:xfrm>
                  <a:off x="5162831" y="2886075"/>
                  <a:ext cx="1866338" cy="489700"/>
                </a:xfrm>
                <a:prstGeom prst="rect">
                  <a:avLst/>
                </a:prstGeom>
                <a:noFill/>
                <a:ln w="3175" cap="rnd">
                  <a:noFill/>
                  <a:prstDash val="solid"/>
                  <a:round/>
                  <a:headEnd/>
                  <a:tailE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r>
                    <a:rPr lang="zh-CN" altLang="en-US" sz="1600" b="1" dirty="0">
                      <a:solidFill>
                        <a:schemeClr val="tx1"/>
                      </a:solidFill>
                    </a:rPr>
                    <a:t>论文综述</a:t>
                  </a:r>
                  <a:endParaRPr lang="id-ID" altLang="zh-CN" sz="1600" b="1" dirty="0">
                    <a:solidFill>
                      <a:schemeClr val="tx1"/>
                    </a:solidFill>
                  </a:endParaRPr>
                </a:p>
              </p:txBody>
            </p:sp>
          </p:grpSp>
        </p:grpSp>
        <p:grpSp>
          <p:nvGrpSpPr>
            <p:cNvPr id="10" name="ïṧḷíďè"/>
            <p:cNvGrpSpPr>
              <a:grpSpLocks/>
            </p:cNvGrpSpPr>
            <p:nvPr/>
          </p:nvGrpSpPr>
          <p:grpSpPr>
            <a:xfrm>
              <a:off x="2989667" y="4590713"/>
              <a:ext cx="2750595" cy="1085850"/>
              <a:chOff x="1857452" y="3069409"/>
              <a:chExt cx="2750595" cy="1085850"/>
            </a:xfrm>
          </p:grpSpPr>
          <p:sp>
            <p:nvSpPr>
              <p:cNvPr id="16" name="î$ļîḋé"/>
              <p:cNvSpPr/>
              <p:nvPr/>
            </p:nvSpPr>
            <p:spPr>
              <a:xfrm>
                <a:off x="1857452" y="3245668"/>
                <a:ext cx="757508" cy="733332"/>
              </a:xfrm>
              <a:prstGeom prst="roundRect">
                <a:avLst>
                  <a:gd name="adj" fmla="val 5587"/>
                </a:avLst>
              </a:prstGeom>
              <a:noFill/>
              <a:ln w="12700" cap="rnd">
                <a:solidFill>
                  <a:schemeClr val="bg1">
                    <a:lumMod val="85000"/>
                  </a:schemeClr>
                </a:solidFill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/>
              <a:p>
                <a:pPr algn="ctr" defTabSz="914354"/>
                <a:r>
                  <a:rPr lang="en-US" altLang="zh-CN" sz="2800" b="1">
                    <a:solidFill>
                      <a:schemeClr val="accent1"/>
                    </a:solidFill>
                  </a:rPr>
                  <a:t>0</a:t>
                </a:r>
                <a:r>
                  <a:rPr lang="en-US" altLang="zh-CN" sz="100" b="1">
                    <a:solidFill>
                      <a:schemeClr val="accent1"/>
                    </a:solidFill>
                  </a:rPr>
                  <a:t> </a:t>
                </a:r>
                <a:r>
                  <a:rPr lang="en-US" altLang="zh-CN" sz="2800" b="1">
                    <a:solidFill>
                      <a:schemeClr val="accent1"/>
                    </a:solidFill>
                  </a:rPr>
                  <a:t>3</a:t>
                </a:r>
                <a:endParaRPr lang="zh-CN" altLang="en-US" sz="2800" b="1" dirty="0">
                  <a:solidFill>
                    <a:schemeClr val="accent1"/>
                  </a:solidFill>
                </a:endParaRPr>
              </a:p>
            </p:txBody>
          </p:sp>
          <p:grpSp>
            <p:nvGrpSpPr>
              <p:cNvPr id="17" name="îṥ1iḍê"/>
              <p:cNvGrpSpPr/>
              <p:nvPr/>
            </p:nvGrpSpPr>
            <p:grpSpPr>
              <a:xfrm>
                <a:off x="2741709" y="3069409"/>
                <a:ext cx="1866338" cy="1085850"/>
                <a:chOff x="5162831" y="2886075"/>
                <a:chExt cx="1866338" cy="1085850"/>
              </a:xfrm>
            </p:grpSpPr>
            <p:sp>
              <p:nvSpPr>
                <p:cNvPr id="18" name="ïṩļiḑe">
                  <a:extLst>
                    <a:ext uri="{FF2B5EF4-FFF2-40B4-BE49-F238E27FC236}">
                      <a16:creationId xmlns:a16="http://schemas.microsoft.com/office/drawing/2014/main" id="{F8E07573-A8E5-42F7-B445-E2E8E3B47ABD}"/>
                    </a:ext>
                  </a:extLst>
                </p:cNvPr>
                <p:cNvSpPr/>
                <p:nvPr/>
              </p:nvSpPr>
              <p:spPr bwMode="auto">
                <a:xfrm>
                  <a:off x="5162831" y="3375774"/>
                  <a:ext cx="1866338" cy="596151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lIns="91440" tIns="45720" rIns="91440" bIns="45720" anchor="t" anchorCtr="0">
                  <a:no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>
                    <a:lnSpc>
                      <a:spcPct val="150000"/>
                    </a:lnSpc>
                  </a:pPr>
                  <a:endParaRPr lang="en-US" altLang="zh-CN" sz="1100" dirty="0"/>
                </a:p>
              </p:txBody>
            </p:sp>
            <p:sp>
              <p:nvSpPr>
                <p:cNvPr id="19" name="ïṧḷiḋe"/>
                <p:cNvSpPr/>
                <p:nvPr/>
              </p:nvSpPr>
              <p:spPr>
                <a:xfrm>
                  <a:off x="5162831" y="2886075"/>
                  <a:ext cx="1866338" cy="489700"/>
                </a:xfrm>
                <a:prstGeom prst="rect">
                  <a:avLst/>
                </a:prstGeom>
                <a:noFill/>
                <a:ln w="3175" cap="rnd">
                  <a:noFill/>
                  <a:prstDash val="solid"/>
                  <a:round/>
                  <a:headEnd/>
                  <a:tailE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r>
                    <a:rPr lang="zh-CN" altLang="en-US" sz="1600" b="1" dirty="0">
                      <a:solidFill>
                        <a:schemeClr val="tx1"/>
                      </a:solidFill>
                    </a:rPr>
                    <a:t>研究方法及过程</a:t>
                  </a:r>
                  <a:endParaRPr lang="id-ID" altLang="zh-CN" sz="1600" b="1" dirty="0">
                    <a:solidFill>
                      <a:schemeClr val="tx1"/>
                    </a:solidFill>
                  </a:endParaRPr>
                </a:p>
              </p:txBody>
            </p:sp>
          </p:grpSp>
        </p:grpSp>
        <p:grpSp>
          <p:nvGrpSpPr>
            <p:cNvPr id="11" name="íṩ1íḓè"/>
            <p:cNvGrpSpPr>
              <a:grpSpLocks/>
            </p:cNvGrpSpPr>
            <p:nvPr/>
          </p:nvGrpSpPr>
          <p:grpSpPr>
            <a:xfrm>
              <a:off x="6439038" y="4590713"/>
              <a:ext cx="2750595" cy="1085850"/>
              <a:chOff x="1857452" y="3069409"/>
              <a:chExt cx="2750595" cy="1085850"/>
            </a:xfrm>
          </p:grpSpPr>
          <p:sp>
            <p:nvSpPr>
              <p:cNvPr id="12" name="iṣ1îďe"/>
              <p:cNvSpPr/>
              <p:nvPr/>
            </p:nvSpPr>
            <p:spPr>
              <a:xfrm>
                <a:off x="1857452" y="3245668"/>
                <a:ext cx="757508" cy="733332"/>
              </a:xfrm>
              <a:prstGeom prst="roundRect">
                <a:avLst>
                  <a:gd name="adj" fmla="val 5587"/>
                </a:avLst>
              </a:prstGeom>
              <a:noFill/>
              <a:ln w="12700" cap="rnd">
                <a:solidFill>
                  <a:schemeClr val="bg1">
                    <a:lumMod val="85000"/>
                  </a:schemeClr>
                </a:solidFill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/>
              <a:p>
                <a:pPr algn="ctr" defTabSz="914354"/>
                <a:r>
                  <a:rPr lang="en-US" altLang="zh-CN" sz="2800" b="1">
                    <a:solidFill>
                      <a:schemeClr val="accent1"/>
                    </a:solidFill>
                  </a:rPr>
                  <a:t>0</a:t>
                </a:r>
                <a:r>
                  <a:rPr lang="en-US" altLang="zh-CN" sz="100" b="1">
                    <a:solidFill>
                      <a:schemeClr val="accent1"/>
                    </a:solidFill>
                  </a:rPr>
                  <a:t> </a:t>
                </a:r>
                <a:r>
                  <a:rPr lang="en-US" altLang="zh-CN" sz="2800" b="1">
                    <a:solidFill>
                      <a:schemeClr val="accent1"/>
                    </a:solidFill>
                  </a:rPr>
                  <a:t>4</a:t>
                </a:r>
                <a:endParaRPr lang="zh-CN" altLang="en-US" sz="2800" b="1" dirty="0">
                  <a:solidFill>
                    <a:schemeClr val="accent1"/>
                  </a:solidFill>
                </a:endParaRPr>
              </a:p>
            </p:txBody>
          </p:sp>
          <p:grpSp>
            <p:nvGrpSpPr>
              <p:cNvPr id="13" name="iśļídê"/>
              <p:cNvGrpSpPr/>
              <p:nvPr/>
            </p:nvGrpSpPr>
            <p:grpSpPr>
              <a:xfrm>
                <a:off x="2741709" y="3069409"/>
                <a:ext cx="1866338" cy="1085850"/>
                <a:chOff x="5162831" y="2886075"/>
                <a:chExt cx="1866338" cy="1085850"/>
              </a:xfrm>
            </p:grpSpPr>
            <p:sp>
              <p:nvSpPr>
                <p:cNvPr id="14" name="iṡ1îḑé">
                  <a:extLst>
                    <a:ext uri="{FF2B5EF4-FFF2-40B4-BE49-F238E27FC236}">
                      <a16:creationId xmlns:a16="http://schemas.microsoft.com/office/drawing/2014/main" id="{F8E07573-A8E5-42F7-B445-E2E8E3B47ABD}"/>
                    </a:ext>
                  </a:extLst>
                </p:cNvPr>
                <p:cNvSpPr/>
                <p:nvPr/>
              </p:nvSpPr>
              <p:spPr bwMode="auto">
                <a:xfrm>
                  <a:off x="5162831" y="3375774"/>
                  <a:ext cx="1866338" cy="596151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lIns="91440" tIns="45720" rIns="91440" bIns="45720" anchor="t" anchorCtr="0">
                  <a:no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>
                    <a:lnSpc>
                      <a:spcPct val="150000"/>
                    </a:lnSpc>
                  </a:pPr>
                  <a:endParaRPr lang="en-US" altLang="zh-CN" sz="1100" dirty="0"/>
                </a:p>
              </p:txBody>
            </p:sp>
            <p:sp>
              <p:nvSpPr>
                <p:cNvPr id="15" name="iş1idè"/>
                <p:cNvSpPr/>
                <p:nvPr/>
              </p:nvSpPr>
              <p:spPr>
                <a:xfrm>
                  <a:off x="5162831" y="2886075"/>
                  <a:ext cx="1866338" cy="489700"/>
                </a:xfrm>
                <a:prstGeom prst="rect">
                  <a:avLst/>
                </a:prstGeom>
                <a:noFill/>
                <a:ln w="3175" cap="rnd">
                  <a:noFill/>
                  <a:prstDash val="solid"/>
                  <a:round/>
                  <a:headEnd/>
                  <a:tailE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r>
                    <a:rPr lang="zh-CN" altLang="en-US" sz="1600" b="1" dirty="0">
                      <a:solidFill>
                        <a:schemeClr val="tx1"/>
                      </a:solidFill>
                    </a:rPr>
                    <a:t>论文总结</a:t>
                  </a:r>
                  <a:endParaRPr lang="id-ID" altLang="zh-CN" sz="1600" b="1" dirty="0">
                    <a:solidFill>
                      <a:schemeClr val="tx1"/>
                    </a:solidFill>
                  </a:endParaRPr>
                </a:p>
              </p:txBody>
            </p:sp>
          </p:grpSp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6614664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选题目的与意义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endParaRPr lang="zh-CN" altLang="en-US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3044772" y="2667679"/>
            <a:ext cx="1861056" cy="1618118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16200000" scaled="0"/>
                </a:gradFill>
                <a:latin typeface="Impact" panose="020B0806030902050204" pitchFamily="34" charset="0"/>
                <a:cs typeface="Arial" panose="020B0604020202020204" pitchFamily="34" charset="0"/>
              </a:rPr>
              <a:t>/01</a:t>
            </a:r>
            <a:endParaRPr lang="zh-CN" altLang="en-US" spc="100" dirty="0">
              <a:gradFill>
                <a:gsLst>
                  <a:gs pos="0">
                    <a:schemeClr val="accent1"/>
                  </a:gs>
                  <a:gs pos="100000">
                    <a:schemeClr val="accent2"/>
                  </a:gs>
                </a:gsLst>
                <a:lin ang="16200000" scaled="0"/>
              </a:gra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选题目的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</a:t>
            </a:fld>
            <a:endParaRPr lang="zh-CN" altLang="en-US"/>
          </a:p>
        </p:txBody>
      </p:sp>
      <p:grpSp>
        <p:nvGrpSpPr>
          <p:cNvPr id="65" name="#267010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/>
        </p:nvGrpSpPr>
        <p:grpSpPr>
          <a:xfrm>
            <a:off x="669925" y="1943100"/>
            <a:ext cx="10159863" cy="3390900"/>
            <a:chOff x="669925" y="1943100"/>
            <a:chExt cx="10159863" cy="3390900"/>
          </a:xfrm>
        </p:grpSpPr>
        <p:sp>
          <p:nvSpPr>
            <p:cNvPr id="66" name="iṥlíḋé"/>
            <p:cNvSpPr/>
            <p:nvPr/>
          </p:nvSpPr>
          <p:spPr bwMode="auto">
            <a:xfrm>
              <a:off x="1160329" y="2261253"/>
              <a:ext cx="4022725" cy="977900"/>
            </a:xfrm>
            <a:custGeom>
              <a:avLst/>
              <a:gdLst>
                <a:gd name="T0" fmla="*/ 2534 w 2534"/>
                <a:gd name="T1" fmla="*/ 0 h 616"/>
                <a:gd name="T2" fmla="*/ 2189 w 2534"/>
                <a:gd name="T3" fmla="*/ 0 h 616"/>
                <a:gd name="T4" fmla="*/ 998 w 2534"/>
                <a:gd name="T5" fmla="*/ 616 h 616"/>
                <a:gd name="T6" fmla="*/ 0 w 2534"/>
                <a:gd name="T7" fmla="*/ 616 h 6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34" h="616">
                  <a:moveTo>
                    <a:pt x="2534" y="0"/>
                  </a:moveTo>
                  <a:lnTo>
                    <a:pt x="2189" y="0"/>
                  </a:lnTo>
                  <a:lnTo>
                    <a:pt x="998" y="616"/>
                  </a:lnTo>
                  <a:lnTo>
                    <a:pt x="0" y="616"/>
                  </a:lnTo>
                </a:path>
              </a:pathLst>
            </a:custGeom>
            <a:noFill/>
            <a:ln w="58738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67" name="i$1ïḓé"/>
            <p:cNvSpPr/>
            <p:nvPr/>
          </p:nvSpPr>
          <p:spPr bwMode="auto">
            <a:xfrm>
              <a:off x="1160329" y="3240303"/>
              <a:ext cx="3443288" cy="396875"/>
            </a:xfrm>
            <a:custGeom>
              <a:avLst/>
              <a:gdLst>
                <a:gd name="T0" fmla="*/ 2169 w 2169"/>
                <a:gd name="T1" fmla="*/ 0 h 250"/>
                <a:gd name="T2" fmla="*/ 1874 w 2169"/>
                <a:gd name="T3" fmla="*/ 0 h 250"/>
                <a:gd name="T4" fmla="*/ 1002 w 2169"/>
                <a:gd name="T5" fmla="*/ 249 h 250"/>
                <a:gd name="T6" fmla="*/ 0 w 2169"/>
                <a:gd name="T7" fmla="*/ 25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69" h="250">
                  <a:moveTo>
                    <a:pt x="2169" y="0"/>
                  </a:moveTo>
                  <a:lnTo>
                    <a:pt x="1874" y="0"/>
                  </a:lnTo>
                  <a:lnTo>
                    <a:pt x="1002" y="249"/>
                  </a:lnTo>
                  <a:lnTo>
                    <a:pt x="0" y="250"/>
                  </a:lnTo>
                </a:path>
              </a:pathLst>
            </a:custGeom>
            <a:noFill/>
            <a:ln w="571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68" name="ïṣlidé"/>
            <p:cNvSpPr/>
            <p:nvPr/>
          </p:nvSpPr>
          <p:spPr bwMode="auto">
            <a:xfrm>
              <a:off x="1160329" y="3638328"/>
              <a:ext cx="3443288" cy="396875"/>
            </a:xfrm>
            <a:custGeom>
              <a:avLst/>
              <a:gdLst>
                <a:gd name="T0" fmla="*/ 2169 w 2169"/>
                <a:gd name="T1" fmla="*/ 250 h 250"/>
                <a:gd name="T2" fmla="*/ 1874 w 2169"/>
                <a:gd name="T3" fmla="*/ 250 h 250"/>
                <a:gd name="T4" fmla="*/ 1002 w 2169"/>
                <a:gd name="T5" fmla="*/ 1 h 250"/>
                <a:gd name="T6" fmla="*/ 0 w 2169"/>
                <a:gd name="T7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69" h="250">
                  <a:moveTo>
                    <a:pt x="2169" y="250"/>
                  </a:moveTo>
                  <a:lnTo>
                    <a:pt x="1874" y="250"/>
                  </a:lnTo>
                  <a:lnTo>
                    <a:pt x="1002" y="1"/>
                  </a:lnTo>
                  <a:lnTo>
                    <a:pt x="0" y="0"/>
                  </a:lnTo>
                </a:path>
              </a:pathLst>
            </a:custGeom>
            <a:noFill/>
            <a:ln w="571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69" name="ïšļíde"/>
            <p:cNvSpPr/>
            <p:nvPr/>
          </p:nvSpPr>
          <p:spPr bwMode="auto">
            <a:xfrm>
              <a:off x="1160329" y="4037944"/>
              <a:ext cx="4021138" cy="979487"/>
            </a:xfrm>
            <a:custGeom>
              <a:avLst/>
              <a:gdLst>
                <a:gd name="T0" fmla="*/ 2533 w 2533"/>
                <a:gd name="T1" fmla="*/ 617 h 617"/>
                <a:gd name="T2" fmla="*/ 2188 w 2533"/>
                <a:gd name="T3" fmla="*/ 617 h 617"/>
                <a:gd name="T4" fmla="*/ 997 w 2533"/>
                <a:gd name="T5" fmla="*/ 0 h 617"/>
                <a:gd name="T6" fmla="*/ 0 w 2533"/>
                <a:gd name="T7" fmla="*/ 0 h 6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33" h="617">
                  <a:moveTo>
                    <a:pt x="2533" y="617"/>
                  </a:moveTo>
                  <a:lnTo>
                    <a:pt x="2188" y="617"/>
                  </a:lnTo>
                  <a:lnTo>
                    <a:pt x="997" y="0"/>
                  </a:lnTo>
                  <a:lnTo>
                    <a:pt x="0" y="0"/>
                  </a:lnTo>
                </a:path>
              </a:pathLst>
            </a:custGeom>
            <a:noFill/>
            <a:ln w="571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70" name="ïşľíḓé"/>
            <p:cNvSpPr/>
            <p:nvPr/>
          </p:nvSpPr>
          <p:spPr>
            <a:xfrm>
              <a:off x="669925" y="2580546"/>
              <a:ext cx="2116004" cy="2116004"/>
            </a:xfrm>
            <a:prstGeom prst="ellipse">
              <a:avLst/>
            </a:prstGeom>
            <a:solidFill>
              <a:schemeClr val="accent1"/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2800" dirty="0">
                  <a:solidFill>
                    <a:schemeClr val="bg1"/>
                  </a:solidFill>
                </a:rPr>
                <a:t>快递管理系统</a:t>
              </a:r>
            </a:p>
          </p:txBody>
        </p:sp>
        <p:grpSp>
          <p:nvGrpSpPr>
            <p:cNvPr id="71" name="í$1íḍe"/>
            <p:cNvGrpSpPr/>
            <p:nvPr/>
          </p:nvGrpSpPr>
          <p:grpSpPr>
            <a:xfrm>
              <a:off x="5182180" y="1943100"/>
              <a:ext cx="634803" cy="634802"/>
              <a:chOff x="5182180" y="1943100"/>
              <a:chExt cx="634803" cy="634802"/>
            </a:xfrm>
          </p:grpSpPr>
          <p:sp>
            <p:nvSpPr>
              <p:cNvPr id="93" name="ïŝḷïdè"/>
              <p:cNvSpPr/>
              <p:nvPr/>
            </p:nvSpPr>
            <p:spPr>
              <a:xfrm>
                <a:off x="5182180" y="1943100"/>
                <a:ext cx="634803" cy="634802"/>
              </a:xfrm>
              <a:prstGeom prst="ellipse">
                <a:avLst/>
              </a:prstGeom>
              <a:solidFill>
                <a:schemeClr val="accent2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zh-CN" altLang="en-US" sz="105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4" name="í$ľídè"/>
              <p:cNvSpPr/>
              <p:nvPr/>
            </p:nvSpPr>
            <p:spPr>
              <a:xfrm>
                <a:off x="5284405" y="2102753"/>
                <a:ext cx="430352" cy="315496"/>
              </a:xfrm>
              <a:custGeom>
                <a:avLst/>
                <a:gdLst>
                  <a:gd name="connsiteX0" fmla="*/ 124336 w 608133"/>
                  <a:gd name="connsiteY0" fmla="*/ 165476 h 445832"/>
                  <a:gd name="connsiteX1" fmla="*/ 304070 w 608133"/>
                  <a:gd name="connsiteY1" fmla="*/ 225979 h 445832"/>
                  <a:gd name="connsiteX2" fmla="*/ 485772 w 608133"/>
                  <a:gd name="connsiteY2" fmla="*/ 165476 h 445832"/>
                  <a:gd name="connsiteX3" fmla="*/ 485772 w 608133"/>
                  <a:gd name="connsiteY3" fmla="*/ 250808 h 445832"/>
                  <a:gd name="connsiteX4" fmla="*/ 305015 w 608133"/>
                  <a:gd name="connsiteY4" fmla="*/ 308089 h 445832"/>
                  <a:gd name="connsiteX5" fmla="*/ 124336 w 608133"/>
                  <a:gd name="connsiteY5" fmla="*/ 250101 h 445832"/>
                  <a:gd name="connsiteX6" fmla="*/ 527801 w 608133"/>
                  <a:gd name="connsiteY6" fmla="*/ 150728 h 445832"/>
                  <a:gd name="connsiteX7" fmla="*/ 527801 w 608133"/>
                  <a:gd name="connsiteY7" fmla="*/ 280008 h 445832"/>
                  <a:gd name="connsiteX8" fmla="*/ 527801 w 608133"/>
                  <a:gd name="connsiteY8" fmla="*/ 280244 h 445832"/>
                  <a:gd name="connsiteX9" fmla="*/ 537709 w 608133"/>
                  <a:gd name="connsiteY9" fmla="*/ 295962 h 445832"/>
                  <a:gd name="connsiteX10" fmla="*/ 530239 w 608133"/>
                  <a:gd name="connsiteY10" fmla="*/ 310265 h 445832"/>
                  <a:gd name="connsiteX11" fmla="*/ 537709 w 608133"/>
                  <a:gd name="connsiteY11" fmla="*/ 323311 h 445832"/>
                  <a:gd name="connsiteX12" fmla="*/ 537709 w 608133"/>
                  <a:gd name="connsiteY12" fmla="*/ 445832 h 445832"/>
                  <a:gd name="connsiteX13" fmla="*/ 502717 w 608133"/>
                  <a:gd name="connsiteY13" fmla="*/ 445832 h 445832"/>
                  <a:gd name="connsiteX14" fmla="*/ 502717 w 608133"/>
                  <a:gd name="connsiteY14" fmla="*/ 323311 h 445832"/>
                  <a:gd name="connsiteX15" fmla="*/ 510108 w 608133"/>
                  <a:gd name="connsiteY15" fmla="*/ 310265 h 445832"/>
                  <a:gd name="connsiteX16" fmla="*/ 502638 w 608133"/>
                  <a:gd name="connsiteY16" fmla="*/ 295962 h 445832"/>
                  <a:gd name="connsiteX17" fmla="*/ 513018 w 608133"/>
                  <a:gd name="connsiteY17" fmla="*/ 280008 h 445832"/>
                  <a:gd name="connsiteX18" fmla="*/ 512546 w 608133"/>
                  <a:gd name="connsiteY18" fmla="*/ 279379 h 445832"/>
                  <a:gd name="connsiteX19" fmla="*/ 512546 w 608133"/>
                  <a:gd name="connsiteY19" fmla="*/ 155522 h 445832"/>
                  <a:gd name="connsiteX20" fmla="*/ 306663 w 608133"/>
                  <a:gd name="connsiteY20" fmla="*/ 0 h 445832"/>
                  <a:gd name="connsiteX21" fmla="*/ 608133 w 608133"/>
                  <a:gd name="connsiteY21" fmla="*/ 115790 h 445832"/>
                  <a:gd name="connsiteX22" fmla="*/ 306663 w 608133"/>
                  <a:gd name="connsiteY22" fmla="*/ 215083 h 445832"/>
                  <a:gd name="connsiteX23" fmla="*/ 0 w 608133"/>
                  <a:gd name="connsiteY23" fmla="*/ 115790 h 4458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608133" h="445832">
                    <a:moveTo>
                      <a:pt x="124336" y="165476"/>
                    </a:moveTo>
                    <a:lnTo>
                      <a:pt x="304070" y="225979"/>
                    </a:lnTo>
                    <a:lnTo>
                      <a:pt x="485772" y="165476"/>
                    </a:lnTo>
                    <a:lnTo>
                      <a:pt x="485772" y="250808"/>
                    </a:lnTo>
                    <a:cubicBezTo>
                      <a:pt x="485772" y="250808"/>
                      <a:pt x="404167" y="245701"/>
                      <a:pt x="305015" y="308089"/>
                    </a:cubicBezTo>
                    <a:cubicBezTo>
                      <a:pt x="305015" y="308089"/>
                      <a:pt x="219948" y="252066"/>
                      <a:pt x="124336" y="250101"/>
                    </a:cubicBezTo>
                    <a:close/>
                    <a:moveTo>
                      <a:pt x="527801" y="150728"/>
                    </a:moveTo>
                    <a:lnTo>
                      <a:pt x="527801" y="280008"/>
                    </a:lnTo>
                    <a:lnTo>
                      <a:pt x="527801" y="280244"/>
                    </a:lnTo>
                    <a:cubicBezTo>
                      <a:pt x="533620" y="283073"/>
                      <a:pt x="537709" y="289046"/>
                      <a:pt x="537709" y="295962"/>
                    </a:cubicBezTo>
                    <a:cubicBezTo>
                      <a:pt x="537709" y="301856"/>
                      <a:pt x="534721" y="307043"/>
                      <a:pt x="530239" y="310265"/>
                    </a:cubicBezTo>
                    <a:cubicBezTo>
                      <a:pt x="534721" y="312937"/>
                      <a:pt x="537709" y="317731"/>
                      <a:pt x="537709" y="323311"/>
                    </a:cubicBezTo>
                    <a:lnTo>
                      <a:pt x="537709" y="445832"/>
                    </a:lnTo>
                    <a:lnTo>
                      <a:pt x="502717" y="445832"/>
                    </a:lnTo>
                    <a:lnTo>
                      <a:pt x="502717" y="323311"/>
                    </a:lnTo>
                    <a:cubicBezTo>
                      <a:pt x="502717" y="317731"/>
                      <a:pt x="505705" y="312937"/>
                      <a:pt x="510108" y="310265"/>
                    </a:cubicBezTo>
                    <a:cubicBezTo>
                      <a:pt x="505626" y="307043"/>
                      <a:pt x="502638" y="301856"/>
                      <a:pt x="502638" y="295962"/>
                    </a:cubicBezTo>
                    <a:cubicBezTo>
                      <a:pt x="502638" y="288810"/>
                      <a:pt x="506884" y="282759"/>
                      <a:pt x="513018" y="280008"/>
                    </a:cubicBezTo>
                    <a:lnTo>
                      <a:pt x="512546" y="279379"/>
                    </a:lnTo>
                    <a:lnTo>
                      <a:pt x="512546" y="155522"/>
                    </a:lnTo>
                    <a:close/>
                    <a:moveTo>
                      <a:pt x="306663" y="0"/>
                    </a:moveTo>
                    <a:lnTo>
                      <a:pt x="608133" y="115790"/>
                    </a:lnTo>
                    <a:lnTo>
                      <a:pt x="306663" y="215083"/>
                    </a:lnTo>
                    <a:lnTo>
                      <a:pt x="0" y="115790"/>
                    </a:lnTo>
                    <a:close/>
                  </a:path>
                </a:pathLst>
              </a:custGeom>
              <a:solidFill>
                <a:schemeClr val="bg1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zh-CN" altLang="en-US" sz="1050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72" name="iṥḻîḑé"/>
            <p:cNvGrpSpPr/>
            <p:nvPr/>
          </p:nvGrpSpPr>
          <p:grpSpPr>
            <a:xfrm>
              <a:off x="4601398" y="2861799"/>
              <a:ext cx="634803" cy="634802"/>
              <a:chOff x="4601398" y="2861799"/>
              <a:chExt cx="634803" cy="634802"/>
            </a:xfrm>
          </p:grpSpPr>
          <p:sp>
            <p:nvSpPr>
              <p:cNvPr id="91" name="ïṩḷíḓe"/>
              <p:cNvSpPr/>
              <p:nvPr/>
            </p:nvSpPr>
            <p:spPr>
              <a:xfrm>
                <a:off x="4601398" y="2861799"/>
                <a:ext cx="634803" cy="634802"/>
              </a:xfrm>
              <a:prstGeom prst="ellipse">
                <a:avLst/>
              </a:prstGeom>
              <a:solidFill>
                <a:schemeClr val="accent2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zh-CN" altLang="en-US" sz="105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2" name="iS1ïḍe"/>
              <p:cNvSpPr/>
              <p:nvPr/>
            </p:nvSpPr>
            <p:spPr>
              <a:xfrm>
                <a:off x="4703623" y="3021451"/>
                <a:ext cx="430352" cy="315496"/>
              </a:xfrm>
              <a:custGeom>
                <a:avLst/>
                <a:gdLst>
                  <a:gd name="connsiteX0" fmla="*/ 124336 w 608133"/>
                  <a:gd name="connsiteY0" fmla="*/ 165476 h 445832"/>
                  <a:gd name="connsiteX1" fmla="*/ 304070 w 608133"/>
                  <a:gd name="connsiteY1" fmla="*/ 225979 h 445832"/>
                  <a:gd name="connsiteX2" fmla="*/ 485772 w 608133"/>
                  <a:gd name="connsiteY2" fmla="*/ 165476 h 445832"/>
                  <a:gd name="connsiteX3" fmla="*/ 485772 w 608133"/>
                  <a:gd name="connsiteY3" fmla="*/ 250808 h 445832"/>
                  <a:gd name="connsiteX4" fmla="*/ 305015 w 608133"/>
                  <a:gd name="connsiteY4" fmla="*/ 308089 h 445832"/>
                  <a:gd name="connsiteX5" fmla="*/ 124336 w 608133"/>
                  <a:gd name="connsiteY5" fmla="*/ 250101 h 445832"/>
                  <a:gd name="connsiteX6" fmla="*/ 527801 w 608133"/>
                  <a:gd name="connsiteY6" fmla="*/ 150728 h 445832"/>
                  <a:gd name="connsiteX7" fmla="*/ 527801 w 608133"/>
                  <a:gd name="connsiteY7" fmla="*/ 280008 h 445832"/>
                  <a:gd name="connsiteX8" fmla="*/ 527801 w 608133"/>
                  <a:gd name="connsiteY8" fmla="*/ 280244 h 445832"/>
                  <a:gd name="connsiteX9" fmla="*/ 537709 w 608133"/>
                  <a:gd name="connsiteY9" fmla="*/ 295962 h 445832"/>
                  <a:gd name="connsiteX10" fmla="*/ 530239 w 608133"/>
                  <a:gd name="connsiteY10" fmla="*/ 310265 h 445832"/>
                  <a:gd name="connsiteX11" fmla="*/ 537709 w 608133"/>
                  <a:gd name="connsiteY11" fmla="*/ 323311 h 445832"/>
                  <a:gd name="connsiteX12" fmla="*/ 537709 w 608133"/>
                  <a:gd name="connsiteY12" fmla="*/ 445832 h 445832"/>
                  <a:gd name="connsiteX13" fmla="*/ 502717 w 608133"/>
                  <a:gd name="connsiteY13" fmla="*/ 445832 h 445832"/>
                  <a:gd name="connsiteX14" fmla="*/ 502717 w 608133"/>
                  <a:gd name="connsiteY14" fmla="*/ 323311 h 445832"/>
                  <a:gd name="connsiteX15" fmla="*/ 510108 w 608133"/>
                  <a:gd name="connsiteY15" fmla="*/ 310265 h 445832"/>
                  <a:gd name="connsiteX16" fmla="*/ 502638 w 608133"/>
                  <a:gd name="connsiteY16" fmla="*/ 295962 h 445832"/>
                  <a:gd name="connsiteX17" fmla="*/ 513018 w 608133"/>
                  <a:gd name="connsiteY17" fmla="*/ 280008 h 445832"/>
                  <a:gd name="connsiteX18" fmla="*/ 512546 w 608133"/>
                  <a:gd name="connsiteY18" fmla="*/ 279379 h 445832"/>
                  <a:gd name="connsiteX19" fmla="*/ 512546 w 608133"/>
                  <a:gd name="connsiteY19" fmla="*/ 155522 h 445832"/>
                  <a:gd name="connsiteX20" fmla="*/ 306663 w 608133"/>
                  <a:gd name="connsiteY20" fmla="*/ 0 h 445832"/>
                  <a:gd name="connsiteX21" fmla="*/ 608133 w 608133"/>
                  <a:gd name="connsiteY21" fmla="*/ 115790 h 445832"/>
                  <a:gd name="connsiteX22" fmla="*/ 306663 w 608133"/>
                  <a:gd name="connsiteY22" fmla="*/ 215083 h 445832"/>
                  <a:gd name="connsiteX23" fmla="*/ 0 w 608133"/>
                  <a:gd name="connsiteY23" fmla="*/ 115790 h 4458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608133" h="445832">
                    <a:moveTo>
                      <a:pt x="124336" y="165476"/>
                    </a:moveTo>
                    <a:lnTo>
                      <a:pt x="304070" y="225979"/>
                    </a:lnTo>
                    <a:lnTo>
                      <a:pt x="485772" y="165476"/>
                    </a:lnTo>
                    <a:lnTo>
                      <a:pt x="485772" y="250808"/>
                    </a:lnTo>
                    <a:cubicBezTo>
                      <a:pt x="485772" y="250808"/>
                      <a:pt x="404167" y="245701"/>
                      <a:pt x="305015" y="308089"/>
                    </a:cubicBezTo>
                    <a:cubicBezTo>
                      <a:pt x="305015" y="308089"/>
                      <a:pt x="219948" y="252066"/>
                      <a:pt x="124336" y="250101"/>
                    </a:cubicBezTo>
                    <a:close/>
                    <a:moveTo>
                      <a:pt x="527801" y="150728"/>
                    </a:moveTo>
                    <a:lnTo>
                      <a:pt x="527801" y="280008"/>
                    </a:lnTo>
                    <a:lnTo>
                      <a:pt x="527801" y="280244"/>
                    </a:lnTo>
                    <a:cubicBezTo>
                      <a:pt x="533620" y="283073"/>
                      <a:pt x="537709" y="289046"/>
                      <a:pt x="537709" y="295962"/>
                    </a:cubicBezTo>
                    <a:cubicBezTo>
                      <a:pt x="537709" y="301856"/>
                      <a:pt x="534721" y="307043"/>
                      <a:pt x="530239" y="310265"/>
                    </a:cubicBezTo>
                    <a:cubicBezTo>
                      <a:pt x="534721" y="312937"/>
                      <a:pt x="537709" y="317731"/>
                      <a:pt x="537709" y="323311"/>
                    </a:cubicBezTo>
                    <a:lnTo>
                      <a:pt x="537709" y="445832"/>
                    </a:lnTo>
                    <a:lnTo>
                      <a:pt x="502717" y="445832"/>
                    </a:lnTo>
                    <a:lnTo>
                      <a:pt x="502717" y="323311"/>
                    </a:lnTo>
                    <a:cubicBezTo>
                      <a:pt x="502717" y="317731"/>
                      <a:pt x="505705" y="312937"/>
                      <a:pt x="510108" y="310265"/>
                    </a:cubicBezTo>
                    <a:cubicBezTo>
                      <a:pt x="505626" y="307043"/>
                      <a:pt x="502638" y="301856"/>
                      <a:pt x="502638" y="295962"/>
                    </a:cubicBezTo>
                    <a:cubicBezTo>
                      <a:pt x="502638" y="288810"/>
                      <a:pt x="506884" y="282759"/>
                      <a:pt x="513018" y="280008"/>
                    </a:cubicBezTo>
                    <a:lnTo>
                      <a:pt x="512546" y="279379"/>
                    </a:lnTo>
                    <a:lnTo>
                      <a:pt x="512546" y="155522"/>
                    </a:lnTo>
                    <a:close/>
                    <a:moveTo>
                      <a:pt x="306663" y="0"/>
                    </a:moveTo>
                    <a:lnTo>
                      <a:pt x="608133" y="115790"/>
                    </a:lnTo>
                    <a:lnTo>
                      <a:pt x="306663" y="215083"/>
                    </a:lnTo>
                    <a:lnTo>
                      <a:pt x="0" y="115790"/>
                    </a:lnTo>
                    <a:close/>
                  </a:path>
                </a:pathLst>
              </a:custGeom>
              <a:solidFill>
                <a:schemeClr val="bg1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zh-CN" altLang="en-US" sz="1050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73" name="îṡļíḋe"/>
            <p:cNvGrpSpPr/>
            <p:nvPr/>
          </p:nvGrpSpPr>
          <p:grpSpPr>
            <a:xfrm>
              <a:off x="4601398" y="3780498"/>
              <a:ext cx="634803" cy="634802"/>
              <a:chOff x="4601398" y="3780498"/>
              <a:chExt cx="634803" cy="634802"/>
            </a:xfrm>
          </p:grpSpPr>
          <p:sp>
            <p:nvSpPr>
              <p:cNvPr id="89" name="íšļiḑe"/>
              <p:cNvSpPr/>
              <p:nvPr/>
            </p:nvSpPr>
            <p:spPr>
              <a:xfrm>
                <a:off x="4601398" y="3780498"/>
                <a:ext cx="634803" cy="634802"/>
              </a:xfrm>
              <a:prstGeom prst="ellipse">
                <a:avLst/>
              </a:prstGeom>
              <a:solidFill>
                <a:schemeClr val="accent2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zh-CN" altLang="en-US" sz="105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0" name="iŝľíde"/>
              <p:cNvSpPr/>
              <p:nvPr/>
            </p:nvSpPr>
            <p:spPr>
              <a:xfrm>
                <a:off x="4703623" y="3940150"/>
                <a:ext cx="430352" cy="315496"/>
              </a:xfrm>
              <a:custGeom>
                <a:avLst/>
                <a:gdLst>
                  <a:gd name="connsiteX0" fmla="*/ 124336 w 608133"/>
                  <a:gd name="connsiteY0" fmla="*/ 165476 h 445832"/>
                  <a:gd name="connsiteX1" fmla="*/ 304070 w 608133"/>
                  <a:gd name="connsiteY1" fmla="*/ 225979 h 445832"/>
                  <a:gd name="connsiteX2" fmla="*/ 485772 w 608133"/>
                  <a:gd name="connsiteY2" fmla="*/ 165476 h 445832"/>
                  <a:gd name="connsiteX3" fmla="*/ 485772 w 608133"/>
                  <a:gd name="connsiteY3" fmla="*/ 250808 h 445832"/>
                  <a:gd name="connsiteX4" fmla="*/ 305015 w 608133"/>
                  <a:gd name="connsiteY4" fmla="*/ 308089 h 445832"/>
                  <a:gd name="connsiteX5" fmla="*/ 124336 w 608133"/>
                  <a:gd name="connsiteY5" fmla="*/ 250101 h 445832"/>
                  <a:gd name="connsiteX6" fmla="*/ 527801 w 608133"/>
                  <a:gd name="connsiteY6" fmla="*/ 150728 h 445832"/>
                  <a:gd name="connsiteX7" fmla="*/ 527801 w 608133"/>
                  <a:gd name="connsiteY7" fmla="*/ 280008 h 445832"/>
                  <a:gd name="connsiteX8" fmla="*/ 527801 w 608133"/>
                  <a:gd name="connsiteY8" fmla="*/ 280244 h 445832"/>
                  <a:gd name="connsiteX9" fmla="*/ 537709 w 608133"/>
                  <a:gd name="connsiteY9" fmla="*/ 295962 h 445832"/>
                  <a:gd name="connsiteX10" fmla="*/ 530239 w 608133"/>
                  <a:gd name="connsiteY10" fmla="*/ 310265 h 445832"/>
                  <a:gd name="connsiteX11" fmla="*/ 537709 w 608133"/>
                  <a:gd name="connsiteY11" fmla="*/ 323311 h 445832"/>
                  <a:gd name="connsiteX12" fmla="*/ 537709 w 608133"/>
                  <a:gd name="connsiteY12" fmla="*/ 445832 h 445832"/>
                  <a:gd name="connsiteX13" fmla="*/ 502717 w 608133"/>
                  <a:gd name="connsiteY13" fmla="*/ 445832 h 445832"/>
                  <a:gd name="connsiteX14" fmla="*/ 502717 w 608133"/>
                  <a:gd name="connsiteY14" fmla="*/ 323311 h 445832"/>
                  <a:gd name="connsiteX15" fmla="*/ 510108 w 608133"/>
                  <a:gd name="connsiteY15" fmla="*/ 310265 h 445832"/>
                  <a:gd name="connsiteX16" fmla="*/ 502638 w 608133"/>
                  <a:gd name="connsiteY16" fmla="*/ 295962 h 445832"/>
                  <a:gd name="connsiteX17" fmla="*/ 513018 w 608133"/>
                  <a:gd name="connsiteY17" fmla="*/ 280008 h 445832"/>
                  <a:gd name="connsiteX18" fmla="*/ 512546 w 608133"/>
                  <a:gd name="connsiteY18" fmla="*/ 279379 h 445832"/>
                  <a:gd name="connsiteX19" fmla="*/ 512546 w 608133"/>
                  <a:gd name="connsiteY19" fmla="*/ 155522 h 445832"/>
                  <a:gd name="connsiteX20" fmla="*/ 306663 w 608133"/>
                  <a:gd name="connsiteY20" fmla="*/ 0 h 445832"/>
                  <a:gd name="connsiteX21" fmla="*/ 608133 w 608133"/>
                  <a:gd name="connsiteY21" fmla="*/ 115790 h 445832"/>
                  <a:gd name="connsiteX22" fmla="*/ 306663 w 608133"/>
                  <a:gd name="connsiteY22" fmla="*/ 215083 h 445832"/>
                  <a:gd name="connsiteX23" fmla="*/ 0 w 608133"/>
                  <a:gd name="connsiteY23" fmla="*/ 115790 h 4458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608133" h="445832">
                    <a:moveTo>
                      <a:pt x="124336" y="165476"/>
                    </a:moveTo>
                    <a:lnTo>
                      <a:pt x="304070" y="225979"/>
                    </a:lnTo>
                    <a:lnTo>
                      <a:pt x="485772" y="165476"/>
                    </a:lnTo>
                    <a:lnTo>
                      <a:pt x="485772" y="250808"/>
                    </a:lnTo>
                    <a:cubicBezTo>
                      <a:pt x="485772" y="250808"/>
                      <a:pt x="404167" y="245701"/>
                      <a:pt x="305015" y="308089"/>
                    </a:cubicBezTo>
                    <a:cubicBezTo>
                      <a:pt x="305015" y="308089"/>
                      <a:pt x="219948" y="252066"/>
                      <a:pt x="124336" y="250101"/>
                    </a:cubicBezTo>
                    <a:close/>
                    <a:moveTo>
                      <a:pt x="527801" y="150728"/>
                    </a:moveTo>
                    <a:lnTo>
                      <a:pt x="527801" y="280008"/>
                    </a:lnTo>
                    <a:lnTo>
                      <a:pt x="527801" y="280244"/>
                    </a:lnTo>
                    <a:cubicBezTo>
                      <a:pt x="533620" y="283073"/>
                      <a:pt x="537709" y="289046"/>
                      <a:pt x="537709" y="295962"/>
                    </a:cubicBezTo>
                    <a:cubicBezTo>
                      <a:pt x="537709" y="301856"/>
                      <a:pt x="534721" y="307043"/>
                      <a:pt x="530239" y="310265"/>
                    </a:cubicBezTo>
                    <a:cubicBezTo>
                      <a:pt x="534721" y="312937"/>
                      <a:pt x="537709" y="317731"/>
                      <a:pt x="537709" y="323311"/>
                    </a:cubicBezTo>
                    <a:lnTo>
                      <a:pt x="537709" y="445832"/>
                    </a:lnTo>
                    <a:lnTo>
                      <a:pt x="502717" y="445832"/>
                    </a:lnTo>
                    <a:lnTo>
                      <a:pt x="502717" y="323311"/>
                    </a:lnTo>
                    <a:cubicBezTo>
                      <a:pt x="502717" y="317731"/>
                      <a:pt x="505705" y="312937"/>
                      <a:pt x="510108" y="310265"/>
                    </a:cubicBezTo>
                    <a:cubicBezTo>
                      <a:pt x="505626" y="307043"/>
                      <a:pt x="502638" y="301856"/>
                      <a:pt x="502638" y="295962"/>
                    </a:cubicBezTo>
                    <a:cubicBezTo>
                      <a:pt x="502638" y="288810"/>
                      <a:pt x="506884" y="282759"/>
                      <a:pt x="513018" y="280008"/>
                    </a:cubicBezTo>
                    <a:lnTo>
                      <a:pt x="512546" y="279379"/>
                    </a:lnTo>
                    <a:lnTo>
                      <a:pt x="512546" y="155522"/>
                    </a:lnTo>
                    <a:close/>
                    <a:moveTo>
                      <a:pt x="306663" y="0"/>
                    </a:moveTo>
                    <a:lnTo>
                      <a:pt x="608133" y="115790"/>
                    </a:lnTo>
                    <a:lnTo>
                      <a:pt x="306663" y="215083"/>
                    </a:lnTo>
                    <a:lnTo>
                      <a:pt x="0" y="115790"/>
                    </a:lnTo>
                    <a:close/>
                  </a:path>
                </a:pathLst>
              </a:custGeom>
              <a:solidFill>
                <a:schemeClr val="bg1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zh-CN" altLang="en-US" sz="1050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74" name="ïṧľíḋè"/>
            <p:cNvGrpSpPr/>
            <p:nvPr/>
          </p:nvGrpSpPr>
          <p:grpSpPr>
            <a:xfrm>
              <a:off x="5182180" y="4699198"/>
              <a:ext cx="634803" cy="634802"/>
              <a:chOff x="5182180" y="4699198"/>
              <a:chExt cx="634803" cy="634802"/>
            </a:xfrm>
          </p:grpSpPr>
          <p:sp>
            <p:nvSpPr>
              <p:cNvPr id="87" name="ïşľïḓê"/>
              <p:cNvSpPr/>
              <p:nvPr/>
            </p:nvSpPr>
            <p:spPr>
              <a:xfrm>
                <a:off x="5182180" y="4699198"/>
                <a:ext cx="634803" cy="634802"/>
              </a:xfrm>
              <a:prstGeom prst="ellipse">
                <a:avLst/>
              </a:prstGeom>
              <a:solidFill>
                <a:schemeClr val="accent2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zh-CN" altLang="en-US" sz="105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8" name="íṡḷíḍé"/>
              <p:cNvSpPr/>
              <p:nvPr/>
            </p:nvSpPr>
            <p:spPr>
              <a:xfrm>
                <a:off x="5284405" y="4858850"/>
                <a:ext cx="430352" cy="315496"/>
              </a:xfrm>
              <a:custGeom>
                <a:avLst/>
                <a:gdLst>
                  <a:gd name="connsiteX0" fmla="*/ 124336 w 608133"/>
                  <a:gd name="connsiteY0" fmla="*/ 165476 h 445832"/>
                  <a:gd name="connsiteX1" fmla="*/ 304070 w 608133"/>
                  <a:gd name="connsiteY1" fmla="*/ 225979 h 445832"/>
                  <a:gd name="connsiteX2" fmla="*/ 485772 w 608133"/>
                  <a:gd name="connsiteY2" fmla="*/ 165476 h 445832"/>
                  <a:gd name="connsiteX3" fmla="*/ 485772 w 608133"/>
                  <a:gd name="connsiteY3" fmla="*/ 250808 h 445832"/>
                  <a:gd name="connsiteX4" fmla="*/ 305015 w 608133"/>
                  <a:gd name="connsiteY4" fmla="*/ 308089 h 445832"/>
                  <a:gd name="connsiteX5" fmla="*/ 124336 w 608133"/>
                  <a:gd name="connsiteY5" fmla="*/ 250101 h 445832"/>
                  <a:gd name="connsiteX6" fmla="*/ 527801 w 608133"/>
                  <a:gd name="connsiteY6" fmla="*/ 150728 h 445832"/>
                  <a:gd name="connsiteX7" fmla="*/ 527801 w 608133"/>
                  <a:gd name="connsiteY7" fmla="*/ 280008 h 445832"/>
                  <a:gd name="connsiteX8" fmla="*/ 527801 w 608133"/>
                  <a:gd name="connsiteY8" fmla="*/ 280244 h 445832"/>
                  <a:gd name="connsiteX9" fmla="*/ 537709 w 608133"/>
                  <a:gd name="connsiteY9" fmla="*/ 295962 h 445832"/>
                  <a:gd name="connsiteX10" fmla="*/ 530239 w 608133"/>
                  <a:gd name="connsiteY10" fmla="*/ 310265 h 445832"/>
                  <a:gd name="connsiteX11" fmla="*/ 537709 w 608133"/>
                  <a:gd name="connsiteY11" fmla="*/ 323311 h 445832"/>
                  <a:gd name="connsiteX12" fmla="*/ 537709 w 608133"/>
                  <a:gd name="connsiteY12" fmla="*/ 445832 h 445832"/>
                  <a:gd name="connsiteX13" fmla="*/ 502717 w 608133"/>
                  <a:gd name="connsiteY13" fmla="*/ 445832 h 445832"/>
                  <a:gd name="connsiteX14" fmla="*/ 502717 w 608133"/>
                  <a:gd name="connsiteY14" fmla="*/ 323311 h 445832"/>
                  <a:gd name="connsiteX15" fmla="*/ 510108 w 608133"/>
                  <a:gd name="connsiteY15" fmla="*/ 310265 h 445832"/>
                  <a:gd name="connsiteX16" fmla="*/ 502638 w 608133"/>
                  <a:gd name="connsiteY16" fmla="*/ 295962 h 445832"/>
                  <a:gd name="connsiteX17" fmla="*/ 513018 w 608133"/>
                  <a:gd name="connsiteY17" fmla="*/ 280008 h 445832"/>
                  <a:gd name="connsiteX18" fmla="*/ 512546 w 608133"/>
                  <a:gd name="connsiteY18" fmla="*/ 279379 h 445832"/>
                  <a:gd name="connsiteX19" fmla="*/ 512546 w 608133"/>
                  <a:gd name="connsiteY19" fmla="*/ 155522 h 445832"/>
                  <a:gd name="connsiteX20" fmla="*/ 306663 w 608133"/>
                  <a:gd name="connsiteY20" fmla="*/ 0 h 445832"/>
                  <a:gd name="connsiteX21" fmla="*/ 608133 w 608133"/>
                  <a:gd name="connsiteY21" fmla="*/ 115790 h 445832"/>
                  <a:gd name="connsiteX22" fmla="*/ 306663 w 608133"/>
                  <a:gd name="connsiteY22" fmla="*/ 215083 h 445832"/>
                  <a:gd name="connsiteX23" fmla="*/ 0 w 608133"/>
                  <a:gd name="connsiteY23" fmla="*/ 115790 h 4458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608133" h="445832">
                    <a:moveTo>
                      <a:pt x="124336" y="165476"/>
                    </a:moveTo>
                    <a:lnTo>
                      <a:pt x="304070" y="225979"/>
                    </a:lnTo>
                    <a:lnTo>
                      <a:pt x="485772" y="165476"/>
                    </a:lnTo>
                    <a:lnTo>
                      <a:pt x="485772" y="250808"/>
                    </a:lnTo>
                    <a:cubicBezTo>
                      <a:pt x="485772" y="250808"/>
                      <a:pt x="404167" y="245701"/>
                      <a:pt x="305015" y="308089"/>
                    </a:cubicBezTo>
                    <a:cubicBezTo>
                      <a:pt x="305015" y="308089"/>
                      <a:pt x="219948" y="252066"/>
                      <a:pt x="124336" y="250101"/>
                    </a:cubicBezTo>
                    <a:close/>
                    <a:moveTo>
                      <a:pt x="527801" y="150728"/>
                    </a:moveTo>
                    <a:lnTo>
                      <a:pt x="527801" y="280008"/>
                    </a:lnTo>
                    <a:lnTo>
                      <a:pt x="527801" y="280244"/>
                    </a:lnTo>
                    <a:cubicBezTo>
                      <a:pt x="533620" y="283073"/>
                      <a:pt x="537709" y="289046"/>
                      <a:pt x="537709" y="295962"/>
                    </a:cubicBezTo>
                    <a:cubicBezTo>
                      <a:pt x="537709" y="301856"/>
                      <a:pt x="534721" y="307043"/>
                      <a:pt x="530239" y="310265"/>
                    </a:cubicBezTo>
                    <a:cubicBezTo>
                      <a:pt x="534721" y="312937"/>
                      <a:pt x="537709" y="317731"/>
                      <a:pt x="537709" y="323311"/>
                    </a:cubicBezTo>
                    <a:lnTo>
                      <a:pt x="537709" y="445832"/>
                    </a:lnTo>
                    <a:lnTo>
                      <a:pt x="502717" y="445832"/>
                    </a:lnTo>
                    <a:lnTo>
                      <a:pt x="502717" y="323311"/>
                    </a:lnTo>
                    <a:cubicBezTo>
                      <a:pt x="502717" y="317731"/>
                      <a:pt x="505705" y="312937"/>
                      <a:pt x="510108" y="310265"/>
                    </a:cubicBezTo>
                    <a:cubicBezTo>
                      <a:pt x="505626" y="307043"/>
                      <a:pt x="502638" y="301856"/>
                      <a:pt x="502638" y="295962"/>
                    </a:cubicBezTo>
                    <a:cubicBezTo>
                      <a:pt x="502638" y="288810"/>
                      <a:pt x="506884" y="282759"/>
                      <a:pt x="513018" y="280008"/>
                    </a:cubicBezTo>
                    <a:lnTo>
                      <a:pt x="512546" y="279379"/>
                    </a:lnTo>
                    <a:lnTo>
                      <a:pt x="512546" y="155522"/>
                    </a:lnTo>
                    <a:close/>
                    <a:moveTo>
                      <a:pt x="306663" y="0"/>
                    </a:moveTo>
                    <a:lnTo>
                      <a:pt x="608133" y="115790"/>
                    </a:lnTo>
                    <a:lnTo>
                      <a:pt x="306663" y="215083"/>
                    </a:lnTo>
                    <a:lnTo>
                      <a:pt x="0" y="115790"/>
                    </a:lnTo>
                    <a:close/>
                  </a:path>
                </a:pathLst>
              </a:custGeom>
              <a:solidFill>
                <a:schemeClr val="bg1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zh-CN" altLang="en-US" sz="1050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75" name="ïsļîdè"/>
            <p:cNvGrpSpPr/>
            <p:nvPr/>
          </p:nvGrpSpPr>
          <p:grpSpPr>
            <a:xfrm>
              <a:off x="5951458" y="2005332"/>
              <a:ext cx="4878330" cy="510338"/>
              <a:chOff x="6640570" y="2261254"/>
              <a:chExt cx="4878330" cy="510338"/>
            </a:xfrm>
          </p:grpSpPr>
          <p:sp>
            <p:nvSpPr>
              <p:cNvPr id="85" name="íṩliḋê"/>
              <p:cNvSpPr/>
              <p:nvPr/>
            </p:nvSpPr>
            <p:spPr>
              <a:xfrm>
                <a:off x="6640570" y="2261254"/>
                <a:ext cx="1180239" cy="510338"/>
              </a:xfrm>
              <a:prstGeom prst="rect">
                <a:avLst/>
              </a:prstGeom>
              <a:noFill/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zh-CN" altLang="en-US" sz="1600" b="1" dirty="0">
                    <a:solidFill>
                      <a:schemeClr val="tx1"/>
                    </a:solidFill>
                  </a:rPr>
                  <a:t>优化存储</a:t>
                </a:r>
                <a:endParaRPr lang="id-ID" altLang="zh-CN" sz="16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6" name="îSlîḍe">
                <a:extLst>
                  <a:ext uri="{FF2B5EF4-FFF2-40B4-BE49-F238E27FC236}">
                    <a16:creationId xmlns:a16="http://schemas.microsoft.com/office/drawing/2014/main" id="{F8E07573-A8E5-42F7-B445-E2E8E3B47ABD}"/>
                  </a:ext>
                </a:extLst>
              </p:cNvPr>
              <p:cNvSpPr/>
              <p:nvPr/>
            </p:nvSpPr>
            <p:spPr bwMode="auto">
              <a:xfrm>
                <a:off x="7820809" y="2261254"/>
                <a:ext cx="3698091" cy="5103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zh-CN" altLang="en-US" sz="1100" dirty="0"/>
                  <a:t>帮助快递点更好的管理仓储货物。</a:t>
                </a:r>
                <a:endParaRPr lang="en-US" altLang="zh-CN" sz="1100" dirty="0"/>
              </a:p>
            </p:txBody>
          </p:sp>
        </p:grpSp>
        <p:grpSp>
          <p:nvGrpSpPr>
            <p:cNvPr id="76" name="iṡľîďè"/>
            <p:cNvGrpSpPr/>
            <p:nvPr/>
          </p:nvGrpSpPr>
          <p:grpSpPr>
            <a:xfrm>
              <a:off x="5370676" y="2924031"/>
              <a:ext cx="4878330" cy="510338"/>
              <a:chOff x="6640570" y="2261254"/>
              <a:chExt cx="4878330" cy="510338"/>
            </a:xfrm>
          </p:grpSpPr>
          <p:sp>
            <p:nvSpPr>
              <p:cNvPr id="83" name="ï$ļiḋè"/>
              <p:cNvSpPr/>
              <p:nvPr/>
            </p:nvSpPr>
            <p:spPr>
              <a:xfrm>
                <a:off x="6640570" y="2261254"/>
                <a:ext cx="1180239" cy="510338"/>
              </a:xfrm>
              <a:prstGeom prst="rect">
                <a:avLst/>
              </a:prstGeom>
              <a:noFill/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zh-CN" altLang="en-US" sz="1600" b="1" dirty="0">
                    <a:solidFill>
                      <a:schemeClr val="tx1"/>
                    </a:solidFill>
                  </a:rPr>
                  <a:t>优化取出</a:t>
                </a:r>
                <a:endParaRPr lang="id-ID" altLang="zh-CN" sz="16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4" name="ïṩľîḑé">
                <a:extLst>
                  <a:ext uri="{FF2B5EF4-FFF2-40B4-BE49-F238E27FC236}">
                    <a16:creationId xmlns:a16="http://schemas.microsoft.com/office/drawing/2014/main" id="{F8E07573-A8E5-42F7-B445-E2E8E3B47ABD}"/>
                  </a:ext>
                </a:extLst>
              </p:cNvPr>
              <p:cNvSpPr/>
              <p:nvPr/>
            </p:nvSpPr>
            <p:spPr bwMode="auto">
              <a:xfrm>
                <a:off x="7820809" y="2261254"/>
                <a:ext cx="3698091" cy="5103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zh-CN" altLang="en-US" sz="1100" dirty="0"/>
                  <a:t>帮助收件人管理所持包裹。</a:t>
                </a:r>
                <a:endParaRPr lang="en-US" altLang="zh-CN" sz="1100" dirty="0"/>
              </a:p>
            </p:txBody>
          </p:sp>
        </p:grpSp>
        <p:grpSp>
          <p:nvGrpSpPr>
            <p:cNvPr id="77" name="ïşḷíďe"/>
            <p:cNvGrpSpPr/>
            <p:nvPr/>
          </p:nvGrpSpPr>
          <p:grpSpPr>
            <a:xfrm>
              <a:off x="5370676" y="3842730"/>
              <a:ext cx="4878330" cy="510338"/>
              <a:chOff x="6640570" y="2261254"/>
              <a:chExt cx="4878330" cy="510338"/>
            </a:xfrm>
          </p:grpSpPr>
          <p:sp>
            <p:nvSpPr>
              <p:cNvPr id="81" name="îṩliḑê"/>
              <p:cNvSpPr/>
              <p:nvPr/>
            </p:nvSpPr>
            <p:spPr>
              <a:xfrm>
                <a:off x="6640570" y="2261254"/>
                <a:ext cx="1180239" cy="510338"/>
              </a:xfrm>
              <a:prstGeom prst="rect">
                <a:avLst/>
              </a:prstGeom>
              <a:noFill/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zh-CN" altLang="en-US" sz="1600" b="1" dirty="0">
                    <a:solidFill>
                      <a:schemeClr val="tx1"/>
                    </a:solidFill>
                  </a:rPr>
                  <a:t>优化管理</a:t>
                </a:r>
                <a:endParaRPr lang="id-ID" altLang="zh-CN" sz="16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2" name="í$ľiḓe">
                <a:extLst>
                  <a:ext uri="{FF2B5EF4-FFF2-40B4-BE49-F238E27FC236}">
                    <a16:creationId xmlns:a16="http://schemas.microsoft.com/office/drawing/2014/main" id="{F8E07573-A8E5-42F7-B445-E2E8E3B47ABD}"/>
                  </a:ext>
                </a:extLst>
              </p:cNvPr>
              <p:cNvSpPr/>
              <p:nvPr/>
            </p:nvSpPr>
            <p:spPr bwMode="auto">
              <a:xfrm>
                <a:off x="7820809" y="2261254"/>
                <a:ext cx="3698091" cy="5103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zh-CN" altLang="en-US" sz="1100" dirty="0"/>
                  <a:t>后端可查询所有包裹信息</a:t>
                </a:r>
                <a:endParaRPr lang="en-US" altLang="zh-CN" sz="1100" dirty="0"/>
              </a:p>
            </p:txBody>
          </p:sp>
        </p:grpSp>
        <p:grpSp>
          <p:nvGrpSpPr>
            <p:cNvPr id="78" name="íṡľîdè"/>
            <p:cNvGrpSpPr/>
            <p:nvPr/>
          </p:nvGrpSpPr>
          <p:grpSpPr>
            <a:xfrm>
              <a:off x="5951458" y="4761430"/>
              <a:ext cx="4878330" cy="510338"/>
              <a:chOff x="6640570" y="2261254"/>
              <a:chExt cx="4878330" cy="510338"/>
            </a:xfrm>
          </p:grpSpPr>
          <p:sp>
            <p:nvSpPr>
              <p:cNvPr id="79" name="ïşľîḓê"/>
              <p:cNvSpPr/>
              <p:nvPr/>
            </p:nvSpPr>
            <p:spPr>
              <a:xfrm>
                <a:off x="6640570" y="2261254"/>
                <a:ext cx="1180239" cy="510338"/>
              </a:xfrm>
              <a:prstGeom prst="rect">
                <a:avLst/>
              </a:prstGeom>
              <a:noFill/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zh-CN" altLang="en-US" sz="1600" b="1" dirty="0">
                    <a:solidFill>
                      <a:schemeClr val="tx1"/>
                    </a:solidFill>
                  </a:rPr>
                  <a:t>简单部署</a:t>
                </a:r>
                <a:endParaRPr lang="id-ID" altLang="zh-CN" sz="16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0" name="îsļíďé">
                <a:extLst>
                  <a:ext uri="{FF2B5EF4-FFF2-40B4-BE49-F238E27FC236}">
                    <a16:creationId xmlns:a16="http://schemas.microsoft.com/office/drawing/2014/main" id="{F8E07573-A8E5-42F7-B445-E2E8E3B47ABD}"/>
                  </a:ext>
                </a:extLst>
              </p:cNvPr>
              <p:cNvSpPr/>
              <p:nvPr/>
            </p:nvSpPr>
            <p:spPr bwMode="auto">
              <a:xfrm>
                <a:off x="7820809" y="2261254"/>
                <a:ext cx="3698091" cy="5103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zh-CN" altLang="en-US" sz="1100" dirty="0"/>
                  <a:t>一次打包各处使用。</a:t>
                </a:r>
                <a:endParaRPr lang="en-US" altLang="zh-CN" sz="1100" dirty="0"/>
              </a:p>
            </p:txBody>
          </p:sp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387732578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选题意义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5</a:t>
            </a:fld>
            <a:endParaRPr lang="zh-CN" altLang="en-US"/>
          </a:p>
        </p:txBody>
      </p:sp>
      <p:grpSp>
        <p:nvGrpSpPr>
          <p:cNvPr id="5" name="#259611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/>
        </p:nvGrpSpPr>
        <p:grpSpPr>
          <a:xfrm>
            <a:off x="660400" y="1130300"/>
            <a:ext cx="10858501" cy="4514913"/>
            <a:chOff x="660400" y="1130300"/>
            <a:chExt cx="10858501" cy="4514913"/>
          </a:xfrm>
        </p:grpSpPr>
        <p:grpSp>
          <p:nvGrpSpPr>
            <p:cNvPr id="6" name="ïsļide"/>
            <p:cNvGrpSpPr/>
            <p:nvPr/>
          </p:nvGrpSpPr>
          <p:grpSpPr>
            <a:xfrm>
              <a:off x="660400" y="2155469"/>
              <a:ext cx="10858501" cy="3489744"/>
              <a:chOff x="660400" y="2060034"/>
              <a:chExt cx="10858501" cy="3489744"/>
            </a:xfrm>
          </p:grpSpPr>
          <p:grpSp>
            <p:nvGrpSpPr>
              <p:cNvPr id="10" name="ísḻiḓe"/>
              <p:cNvGrpSpPr/>
              <p:nvPr/>
            </p:nvGrpSpPr>
            <p:grpSpPr>
              <a:xfrm>
                <a:off x="4536133" y="2506458"/>
                <a:ext cx="3107035" cy="2625485"/>
                <a:chOff x="4018522" y="2133103"/>
                <a:chExt cx="4137490" cy="3496234"/>
              </a:xfrm>
            </p:grpSpPr>
            <p:sp>
              <p:nvSpPr>
                <p:cNvPr id="29" name="íṩ1ïḑê"/>
                <p:cNvSpPr/>
                <p:nvPr/>
              </p:nvSpPr>
              <p:spPr bwMode="auto">
                <a:xfrm>
                  <a:off x="5573308" y="2133103"/>
                  <a:ext cx="1745908" cy="2352655"/>
                </a:xfrm>
                <a:custGeom>
                  <a:avLst/>
                  <a:gdLst>
                    <a:gd name="T0" fmla="*/ 119 w 298"/>
                    <a:gd name="T1" fmla="*/ 292 h 411"/>
                    <a:gd name="T2" fmla="*/ 122 w 298"/>
                    <a:gd name="T3" fmla="*/ 297 h 411"/>
                    <a:gd name="T4" fmla="*/ 288 w 298"/>
                    <a:gd name="T5" fmla="*/ 410 h 411"/>
                    <a:gd name="T6" fmla="*/ 291 w 298"/>
                    <a:gd name="T7" fmla="*/ 411 h 411"/>
                    <a:gd name="T8" fmla="*/ 294 w 298"/>
                    <a:gd name="T9" fmla="*/ 410 h 411"/>
                    <a:gd name="T10" fmla="*/ 297 w 298"/>
                    <a:gd name="T11" fmla="*/ 404 h 411"/>
                    <a:gd name="T12" fmla="*/ 274 w 298"/>
                    <a:gd name="T13" fmla="*/ 205 h 411"/>
                    <a:gd name="T14" fmla="*/ 270 w 298"/>
                    <a:gd name="T15" fmla="*/ 200 h 411"/>
                    <a:gd name="T16" fmla="*/ 264 w 298"/>
                    <a:gd name="T17" fmla="*/ 201 h 411"/>
                    <a:gd name="T18" fmla="*/ 234 w 298"/>
                    <a:gd name="T19" fmla="*/ 219 h 411"/>
                    <a:gd name="T20" fmla="*/ 99 w 298"/>
                    <a:gd name="T21" fmla="*/ 3 h 411"/>
                    <a:gd name="T22" fmla="*/ 94 w 298"/>
                    <a:gd name="T23" fmla="*/ 1 h 411"/>
                    <a:gd name="T24" fmla="*/ 88 w 298"/>
                    <a:gd name="T25" fmla="*/ 3 h 411"/>
                    <a:gd name="T26" fmla="*/ 3 w 298"/>
                    <a:gd name="T27" fmla="*/ 117 h 411"/>
                    <a:gd name="T28" fmla="*/ 4 w 298"/>
                    <a:gd name="T29" fmla="*/ 126 h 411"/>
                    <a:gd name="T30" fmla="*/ 13 w 298"/>
                    <a:gd name="T31" fmla="*/ 125 h 411"/>
                    <a:gd name="T32" fmla="*/ 93 w 298"/>
                    <a:gd name="T33" fmla="*/ 18 h 411"/>
                    <a:gd name="T34" fmla="*/ 223 w 298"/>
                    <a:gd name="T35" fmla="*/ 226 h 411"/>
                    <a:gd name="T36" fmla="*/ 200 w 298"/>
                    <a:gd name="T37" fmla="*/ 240 h 411"/>
                    <a:gd name="T38" fmla="*/ 96 w 298"/>
                    <a:gd name="T39" fmla="*/ 73 h 411"/>
                    <a:gd name="T40" fmla="*/ 91 w 298"/>
                    <a:gd name="T41" fmla="*/ 70 h 411"/>
                    <a:gd name="T42" fmla="*/ 85 w 298"/>
                    <a:gd name="T43" fmla="*/ 73 h 411"/>
                    <a:gd name="T44" fmla="*/ 34 w 298"/>
                    <a:gd name="T45" fmla="*/ 141 h 411"/>
                    <a:gd name="T46" fmla="*/ 35 w 298"/>
                    <a:gd name="T47" fmla="*/ 150 h 411"/>
                    <a:gd name="T48" fmla="*/ 44 w 298"/>
                    <a:gd name="T49" fmla="*/ 148 h 411"/>
                    <a:gd name="T50" fmla="*/ 90 w 298"/>
                    <a:gd name="T51" fmla="*/ 88 h 411"/>
                    <a:gd name="T52" fmla="*/ 189 w 298"/>
                    <a:gd name="T53" fmla="*/ 246 h 411"/>
                    <a:gd name="T54" fmla="*/ 166 w 298"/>
                    <a:gd name="T55" fmla="*/ 260 h 411"/>
                    <a:gd name="T56" fmla="*/ 93 w 298"/>
                    <a:gd name="T57" fmla="*/ 143 h 411"/>
                    <a:gd name="T58" fmla="*/ 88 w 298"/>
                    <a:gd name="T59" fmla="*/ 140 h 411"/>
                    <a:gd name="T60" fmla="*/ 82 w 298"/>
                    <a:gd name="T61" fmla="*/ 143 h 411"/>
                    <a:gd name="T62" fmla="*/ 66 w 298"/>
                    <a:gd name="T63" fmla="*/ 165 h 411"/>
                    <a:gd name="T64" fmla="*/ 67 w 298"/>
                    <a:gd name="T65" fmla="*/ 174 h 411"/>
                    <a:gd name="T66" fmla="*/ 76 w 298"/>
                    <a:gd name="T67" fmla="*/ 172 h 411"/>
                    <a:gd name="T68" fmla="*/ 87 w 298"/>
                    <a:gd name="T69" fmla="*/ 157 h 411"/>
                    <a:gd name="T70" fmla="*/ 155 w 298"/>
                    <a:gd name="T71" fmla="*/ 267 h 411"/>
                    <a:gd name="T72" fmla="*/ 122 w 298"/>
                    <a:gd name="T73" fmla="*/ 287 h 411"/>
                    <a:gd name="T74" fmla="*/ 119 w 298"/>
                    <a:gd name="T75" fmla="*/ 292 h 411"/>
                    <a:gd name="T76" fmla="*/ 262 w 298"/>
                    <a:gd name="T77" fmla="*/ 216 h 411"/>
                    <a:gd name="T78" fmla="*/ 283 w 298"/>
                    <a:gd name="T79" fmla="*/ 392 h 411"/>
                    <a:gd name="T80" fmla="*/ 137 w 298"/>
                    <a:gd name="T81" fmla="*/ 293 h 411"/>
                    <a:gd name="T82" fmla="*/ 262 w 298"/>
                    <a:gd name="T83" fmla="*/ 216 h 4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298" h="411">
                      <a:moveTo>
                        <a:pt x="119" y="292"/>
                      </a:moveTo>
                      <a:cubicBezTo>
                        <a:pt x="119" y="294"/>
                        <a:pt x="120" y="296"/>
                        <a:pt x="122" y="297"/>
                      </a:cubicBezTo>
                      <a:cubicBezTo>
                        <a:pt x="288" y="410"/>
                        <a:pt x="288" y="410"/>
                        <a:pt x="288" y="410"/>
                      </a:cubicBezTo>
                      <a:cubicBezTo>
                        <a:pt x="289" y="410"/>
                        <a:pt x="290" y="411"/>
                        <a:pt x="291" y="411"/>
                      </a:cubicBezTo>
                      <a:cubicBezTo>
                        <a:pt x="292" y="411"/>
                        <a:pt x="293" y="410"/>
                        <a:pt x="294" y="410"/>
                      </a:cubicBezTo>
                      <a:cubicBezTo>
                        <a:pt x="296" y="409"/>
                        <a:pt x="298" y="406"/>
                        <a:pt x="297" y="404"/>
                      </a:cubicBezTo>
                      <a:cubicBezTo>
                        <a:pt x="274" y="205"/>
                        <a:pt x="274" y="205"/>
                        <a:pt x="274" y="205"/>
                      </a:cubicBezTo>
                      <a:cubicBezTo>
                        <a:pt x="273" y="203"/>
                        <a:pt x="272" y="201"/>
                        <a:pt x="270" y="200"/>
                      </a:cubicBezTo>
                      <a:cubicBezTo>
                        <a:pt x="268" y="199"/>
                        <a:pt x="266" y="199"/>
                        <a:pt x="264" y="201"/>
                      </a:cubicBezTo>
                      <a:cubicBezTo>
                        <a:pt x="234" y="219"/>
                        <a:pt x="234" y="219"/>
                        <a:pt x="234" y="219"/>
                      </a:cubicBezTo>
                      <a:cubicBezTo>
                        <a:pt x="99" y="3"/>
                        <a:pt x="99" y="3"/>
                        <a:pt x="99" y="3"/>
                      </a:cubicBezTo>
                      <a:cubicBezTo>
                        <a:pt x="98" y="2"/>
                        <a:pt x="96" y="1"/>
                        <a:pt x="94" y="1"/>
                      </a:cubicBezTo>
                      <a:cubicBezTo>
                        <a:pt x="92" y="0"/>
                        <a:pt x="90" y="1"/>
                        <a:pt x="88" y="3"/>
                      </a:cubicBezTo>
                      <a:cubicBezTo>
                        <a:pt x="3" y="117"/>
                        <a:pt x="3" y="117"/>
                        <a:pt x="3" y="117"/>
                      </a:cubicBezTo>
                      <a:cubicBezTo>
                        <a:pt x="0" y="120"/>
                        <a:pt x="1" y="124"/>
                        <a:pt x="4" y="126"/>
                      </a:cubicBezTo>
                      <a:cubicBezTo>
                        <a:pt x="7" y="128"/>
                        <a:pt x="10" y="127"/>
                        <a:pt x="13" y="125"/>
                      </a:cubicBezTo>
                      <a:cubicBezTo>
                        <a:pt x="93" y="18"/>
                        <a:pt x="93" y="18"/>
                        <a:pt x="93" y="18"/>
                      </a:cubicBezTo>
                      <a:cubicBezTo>
                        <a:pt x="223" y="226"/>
                        <a:pt x="223" y="226"/>
                        <a:pt x="223" y="226"/>
                      </a:cubicBezTo>
                      <a:cubicBezTo>
                        <a:pt x="200" y="240"/>
                        <a:pt x="200" y="240"/>
                        <a:pt x="200" y="240"/>
                      </a:cubicBezTo>
                      <a:cubicBezTo>
                        <a:pt x="96" y="73"/>
                        <a:pt x="96" y="73"/>
                        <a:pt x="96" y="73"/>
                      </a:cubicBezTo>
                      <a:cubicBezTo>
                        <a:pt x="95" y="72"/>
                        <a:pt x="93" y="70"/>
                        <a:pt x="91" y="70"/>
                      </a:cubicBezTo>
                      <a:cubicBezTo>
                        <a:pt x="89" y="70"/>
                        <a:pt x="87" y="71"/>
                        <a:pt x="85" y="73"/>
                      </a:cubicBezTo>
                      <a:cubicBezTo>
                        <a:pt x="34" y="141"/>
                        <a:pt x="34" y="141"/>
                        <a:pt x="34" y="141"/>
                      </a:cubicBezTo>
                      <a:cubicBezTo>
                        <a:pt x="32" y="144"/>
                        <a:pt x="33" y="148"/>
                        <a:pt x="35" y="150"/>
                      </a:cubicBezTo>
                      <a:cubicBezTo>
                        <a:pt x="38" y="152"/>
                        <a:pt x="42" y="151"/>
                        <a:pt x="44" y="148"/>
                      </a:cubicBezTo>
                      <a:cubicBezTo>
                        <a:pt x="90" y="88"/>
                        <a:pt x="90" y="88"/>
                        <a:pt x="90" y="88"/>
                      </a:cubicBezTo>
                      <a:cubicBezTo>
                        <a:pt x="189" y="246"/>
                        <a:pt x="189" y="246"/>
                        <a:pt x="189" y="246"/>
                      </a:cubicBezTo>
                      <a:cubicBezTo>
                        <a:pt x="166" y="260"/>
                        <a:pt x="166" y="260"/>
                        <a:pt x="166" y="260"/>
                      </a:cubicBezTo>
                      <a:cubicBezTo>
                        <a:pt x="93" y="143"/>
                        <a:pt x="93" y="143"/>
                        <a:pt x="93" y="143"/>
                      </a:cubicBezTo>
                      <a:cubicBezTo>
                        <a:pt x="92" y="141"/>
                        <a:pt x="90" y="140"/>
                        <a:pt x="88" y="140"/>
                      </a:cubicBezTo>
                      <a:cubicBezTo>
                        <a:pt x="86" y="140"/>
                        <a:pt x="84" y="141"/>
                        <a:pt x="82" y="143"/>
                      </a:cubicBezTo>
                      <a:cubicBezTo>
                        <a:pt x="66" y="165"/>
                        <a:pt x="66" y="165"/>
                        <a:pt x="66" y="165"/>
                      </a:cubicBezTo>
                      <a:cubicBezTo>
                        <a:pt x="64" y="167"/>
                        <a:pt x="64" y="171"/>
                        <a:pt x="67" y="174"/>
                      </a:cubicBezTo>
                      <a:cubicBezTo>
                        <a:pt x="70" y="176"/>
                        <a:pt x="74" y="175"/>
                        <a:pt x="76" y="172"/>
                      </a:cubicBezTo>
                      <a:cubicBezTo>
                        <a:pt x="87" y="157"/>
                        <a:pt x="87" y="157"/>
                        <a:pt x="87" y="157"/>
                      </a:cubicBezTo>
                      <a:cubicBezTo>
                        <a:pt x="155" y="267"/>
                        <a:pt x="155" y="267"/>
                        <a:pt x="155" y="267"/>
                      </a:cubicBezTo>
                      <a:cubicBezTo>
                        <a:pt x="122" y="287"/>
                        <a:pt x="122" y="287"/>
                        <a:pt x="122" y="287"/>
                      </a:cubicBezTo>
                      <a:cubicBezTo>
                        <a:pt x="121" y="288"/>
                        <a:pt x="119" y="290"/>
                        <a:pt x="119" y="292"/>
                      </a:cubicBezTo>
                      <a:close/>
                      <a:moveTo>
                        <a:pt x="262" y="216"/>
                      </a:moveTo>
                      <a:cubicBezTo>
                        <a:pt x="283" y="392"/>
                        <a:pt x="283" y="392"/>
                        <a:pt x="283" y="392"/>
                      </a:cubicBezTo>
                      <a:cubicBezTo>
                        <a:pt x="137" y="293"/>
                        <a:pt x="137" y="293"/>
                        <a:pt x="137" y="293"/>
                      </a:cubicBezTo>
                      <a:lnTo>
                        <a:pt x="262" y="216"/>
                      </a:lnTo>
                      <a:close/>
                    </a:path>
                  </a:pathLst>
                </a:custGeom>
                <a:solidFill>
                  <a:schemeClr val="bg1">
                    <a:lumMod val="95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id-ID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id-ID"/>
                </a:p>
              </p:txBody>
            </p:sp>
            <p:sp>
              <p:nvSpPr>
                <p:cNvPr id="30" name="iṡḷîḓê"/>
                <p:cNvSpPr/>
                <p:nvPr/>
              </p:nvSpPr>
              <p:spPr bwMode="auto">
                <a:xfrm>
                  <a:off x="5170405" y="4470643"/>
                  <a:ext cx="2985607" cy="1158694"/>
                </a:xfrm>
                <a:custGeom>
                  <a:avLst/>
                  <a:gdLst>
                    <a:gd name="T0" fmla="*/ 507 w 509"/>
                    <a:gd name="T1" fmla="*/ 150 h 203"/>
                    <a:gd name="T2" fmla="*/ 416 w 509"/>
                    <a:gd name="T3" fmla="*/ 3 h 203"/>
                    <a:gd name="T4" fmla="*/ 408 w 509"/>
                    <a:gd name="T5" fmla="*/ 1 h 203"/>
                    <a:gd name="T6" fmla="*/ 406 w 509"/>
                    <a:gd name="T7" fmla="*/ 10 h 203"/>
                    <a:gd name="T8" fmla="*/ 491 w 509"/>
                    <a:gd name="T9" fmla="*/ 147 h 203"/>
                    <a:gd name="T10" fmla="*/ 194 w 509"/>
                    <a:gd name="T11" fmla="*/ 147 h 203"/>
                    <a:gd name="T12" fmla="*/ 194 w 509"/>
                    <a:gd name="T13" fmla="*/ 120 h 203"/>
                    <a:gd name="T14" fmla="*/ 431 w 509"/>
                    <a:gd name="T15" fmla="*/ 120 h 203"/>
                    <a:gd name="T16" fmla="*/ 436 w 509"/>
                    <a:gd name="T17" fmla="*/ 116 h 203"/>
                    <a:gd name="T18" fmla="*/ 436 w 509"/>
                    <a:gd name="T19" fmla="*/ 110 h 203"/>
                    <a:gd name="T20" fmla="*/ 383 w 509"/>
                    <a:gd name="T21" fmla="*/ 24 h 203"/>
                    <a:gd name="T22" fmla="*/ 374 w 509"/>
                    <a:gd name="T23" fmla="*/ 22 h 203"/>
                    <a:gd name="T24" fmla="*/ 372 w 509"/>
                    <a:gd name="T25" fmla="*/ 31 h 203"/>
                    <a:gd name="T26" fmla="*/ 419 w 509"/>
                    <a:gd name="T27" fmla="*/ 107 h 203"/>
                    <a:gd name="T28" fmla="*/ 194 w 509"/>
                    <a:gd name="T29" fmla="*/ 107 h 203"/>
                    <a:gd name="T30" fmla="*/ 194 w 509"/>
                    <a:gd name="T31" fmla="*/ 80 h 203"/>
                    <a:gd name="T32" fmla="*/ 359 w 509"/>
                    <a:gd name="T33" fmla="*/ 80 h 203"/>
                    <a:gd name="T34" fmla="*/ 365 w 509"/>
                    <a:gd name="T35" fmla="*/ 77 h 203"/>
                    <a:gd name="T36" fmla="*/ 365 w 509"/>
                    <a:gd name="T37" fmla="*/ 70 h 203"/>
                    <a:gd name="T38" fmla="*/ 349 w 509"/>
                    <a:gd name="T39" fmla="*/ 45 h 203"/>
                    <a:gd name="T40" fmla="*/ 340 w 509"/>
                    <a:gd name="T41" fmla="*/ 43 h 203"/>
                    <a:gd name="T42" fmla="*/ 338 w 509"/>
                    <a:gd name="T43" fmla="*/ 52 h 203"/>
                    <a:gd name="T44" fmla="*/ 348 w 509"/>
                    <a:gd name="T45" fmla="*/ 67 h 203"/>
                    <a:gd name="T46" fmla="*/ 194 w 509"/>
                    <a:gd name="T47" fmla="*/ 67 h 203"/>
                    <a:gd name="T48" fmla="*/ 194 w 509"/>
                    <a:gd name="T49" fmla="*/ 30 h 203"/>
                    <a:gd name="T50" fmla="*/ 191 w 509"/>
                    <a:gd name="T51" fmla="*/ 25 h 203"/>
                    <a:gd name="T52" fmla="*/ 185 w 509"/>
                    <a:gd name="T53" fmla="*/ 25 h 203"/>
                    <a:gd name="T54" fmla="*/ 3 w 509"/>
                    <a:gd name="T55" fmla="*/ 108 h 203"/>
                    <a:gd name="T56" fmla="*/ 0 w 509"/>
                    <a:gd name="T57" fmla="*/ 113 h 203"/>
                    <a:gd name="T58" fmla="*/ 3 w 509"/>
                    <a:gd name="T59" fmla="*/ 119 h 203"/>
                    <a:gd name="T60" fmla="*/ 185 w 509"/>
                    <a:gd name="T61" fmla="*/ 202 h 203"/>
                    <a:gd name="T62" fmla="*/ 188 w 509"/>
                    <a:gd name="T63" fmla="*/ 203 h 203"/>
                    <a:gd name="T64" fmla="*/ 191 w 509"/>
                    <a:gd name="T65" fmla="*/ 202 h 203"/>
                    <a:gd name="T66" fmla="*/ 194 w 509"/>
                    <a:gd name="T67" fmla="*/ 196 h 203"/>
                    <a:gd name="T68" fmla="*/ 194 w 509"/>
                    <a:gd name="T69" fmla="*/ 159 h 203"/>
                    <a:gd name="T70" fmla="*/ 502 w 509"/>
                    <a:gd name="T71" fmla="*/ 159 h 203"/>
                    <a:gd name="T72" fmla="*/ 507 w 509"/>
                    <a:gd name="T73" fmla="*/ 156 h 203"/>
                    <a:gd name="T74" fmla="*/ 507 w 509"/>
                    <a:gd name="T75" fmla="*/ 150 h 203"/>
                    <a:gd name="T76" fmla="*/ 182 w 509"/>
                    <a:gd name="T77" fmla="*/ 187 h 203"/>
                    <a:gd name="T78" fmla="*/ 21 w 509"/>
                    <a:gd name="T79" fmla="*/ 113 h 203"/>
                    <a:gd name="T80" fmla="*/ 182 w 509"/>
                    <a:gd name="T81" fmla="*/ 40 h 203"/>
                    <a:gd name="T82" fmla="*/ 182 w 509"/>
                    <a:gd name="T83" fmla="*/ 187 h 2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509" h="203">
                      <a:moveTo>
                        <a:pt x="507" y="150"/>
                      </a:moveTo>
                      <a:cubicBezTo>
                        <a:pt x="416" y="3"/>
                        <a:pt x="416" y="3"/>
                        <a:pt x="416" y="3"/>
                      </a:cubicBezTo>
                      <a:cubicBezTo>
                        <a:pt x="414" y="0"/>
                        <a:pt x="411" y="0"/>
                        <a:pt x="408" y="1"/>
                      </a:cubicBezTo>
                      <a:cubicBezTo>
                        <a:pt x="405" y="3"/>
                        <a:pt x="404" y="7"/>
                        <a:pt x="406" y="10"/>
                      </a:cubicBezTo>
                      <a:cubicBezTo>
                        <a:pt x="491" y="147"/>
                        <a:pt x="491" y="147"/>
                        <a:pt x="491" y="147"/>
                      </a:cubicBezTo>
                      <a:cubicBezTo>
                        <a:pt x="194" y="147"/>
                        <a:pt x="194" y="147"/>
                        <a:pt x="194" y="147"/>
                      </a:cubicBezTo>
                      <a:cubicBezTo>
                        <a:pt x="194" y="120"/>
                        <a:pt x="194" y="120"/>
                        <a:pt x="194" y="120"/>
                      </a:cubicBezTo>
                      <a:cubicBezTo>
                        <a:pt x="431" y="120"/>
                        <a:pt x="431" y="120"/>
                        <a:pt x="431" y="120"/>
                      </a:cubicBezTo>
                      <a:cubicBezTo>
                        <a:pt x="433" y="120"/>
                        <a:pt x="435" y="118"/>
                        <a:pt x="436" y="116"/>
                      </a:cubicBezTo>
                      <a:cubicBezTo>
                        <a:pt x="437" y="114"/>
                        <a:pt x="437" y="112"/>
                        <a:pt x="436" y="110"/>
                      </a:cubicBezTo>
                      <a:cubicBezTo>
                        <a:pt x="383" y="24"/>
                        <a:pt x="383" y="24"/>
                        <a:pt x="383" y="24"/>
                      </a:cubicBezTo>
                      <a:cubicBezTo>
                        <a:pt x="381" y="21"/>
                        <a:pt x="377" y="20"/>
                        <a:pt x="374" y="22"/>
                      </a:cubicBezTo>
                      <a:cubicBezTo>
                        <a:pt x="371" y="24"/>
                        <a:pt x="370" y="28"/>
                        <a:pt x="372" y="31"/>
                      </a:cubicBezTo>
                      <a:cubicBezTo>
                        <a:pt x="419" y="107"/>
                        <a:pt x="419" y="107"/>
                        <a:pt x="419" y="107"/>
                      </a:cubicBezTo>
                      <a:cubicBezTo>
                        <a:pt x="194" y="107"/>
                        <a:pt x="194" y="107"/>
                        <a:pt x="194" y="107"/>
                      </a:cubicBezTo>
                      <a:cubicBezTo>
                        <a:pt x="194" y="80"/>
                        <a:pt x="194" y="80"/>
                        <a:pt x="194" y="80"/>
                      </a:cubicBezTo>
                      <a:cubicBezTo>
                        <a:pt x="359" y="80"/>
                        <a:pt x="359" y="80"/>
                        <a:pt x="359" y="80"/>
                      </a:cubicBezTo>
                      <a:cubicBezTo>
                        <a:pt x="362" y="80"/>
                        <a:pt x="364" y="79"/>
                        <a:pt x="365" y="77"/>
                      </a:cubicBezTo>
                      <a:cubicBezTo>
                        <a:pt x="366" y="75"/>
                        <a:pt x="366" y="72"/>
                        <a:pt x="365" y="70"/>
                      </a:cubicBezTo>
                      <a:cubicBezTo>
                        <a:pt x="349" y="45"/>
                        <a:pt x="349" y="45"/>
                        <a:pt x="349" y="45"/>
                      </a:cubicBezTo>
                      <a:cubicBezTo>
                        <a:pt x="347" y="42"/>
                        <a:pt x="343" y="41"/>
                        <a:pt x="340" y="43"/>
                      </a:cubicBezTo>
                      <a:cubicBezTo>
                        <a:pt x="337" y="45"/>
                        <a:pt x="337" y="49"/>
                        <a:pt x="338" y="52"/>
                      </a:cubicBezTo>
                      <a:cubicBezTo>
                        <a:pt x="348" y="67"/>
                        <a:pt x="348" y="67"/>
                        <a:pt x="348" y="67"/>
                      </a:cubicBezTo>
                      <a:cubicBezTo>
                        <a:pt x="194" y="67"/>
                        <a:pt x="194" y="67"/>
                        <a:pt x="194" y="67"/>
                      </a:cubicBezTo>
                      <a:cubicBezTo>
                        <a:pt x="194" y="30"/>
                        <a:pt x="194" y="30"/>
                        <a:pt x="194" y="30"/>
                      </a:cubicBezTo>
                      <a:cubicBezTo>
                        <a:pt x="194" y="28"/>
                        <a:pt x="193" y="26"/>
                        <a:pt x="191" y="25"/>
                      </a:cubicBezTo>
                      <a:cubicBezTo>
                        <a:pt x="190" y="24"/>
                        <a:pt x="187" y="24"/>
                        <a:pt x="185" y="25"/>
                      </a:cubicBezTo>
                      <a:cubicBezTo>
                        <a:pt x="3" y="108"/>
                        <a:pt x="3" y="108"/>
                        <a:pt x="3" y="108"/>
                      </a:cubicBezTo>
                      <a:cubicBezTo>
                        <a:pt x="1" y="109"/>
                        <a:pt x="0" y="111"/>
                        <a:pt x="0" y="113"/>
                      </a:cubicBezTo>
                      <a:cubicBezTo>
                        <a:pt x="0" y="116"/>
                        <a:pt x="1" y="118"/>
                        <a:pt x="3" y="119"/>
                      </a:cubicBezTo>
                      <a:cubicBezTo>
                        <a:pt x="185" y="202"/>
                        <a:pt x="185" y="202"/>
                        <a:pt x="185" y="202"/>
                      </a:cubicBezTo>
                      <a:cubicBezTo>
                        <a:pt x="186" y="202"/>
                        <a:pt x="187" y="203"/>
                        <a:pt x="188" y="203"/>
                      </a:cubicBezTo>
                      <a:cubicBezTo>
                        <a:pt x="189" y="203"/>
                        <a:pt x="190" y="202"/>
                        <a:pt x="191" y="202"/>
                      </a:cubicBezTo>
                      <a:cubicBezTo>
                        <a:pt x="193" y="200"/>
                        <a:pt x="194" y="198"/>
                        <a:pt x="194" y="196"/>
                      </a:cubicBezTo>
                      <a:cubicBezTo>
                        <a:pt x="194" y="159"/>
                        <a:pt x="194" y="159"/>
                        <a:pt x="194" y="159"/>
                      </a:cubicBezTo>
                      <a:cubicBezTo>
                        <a:pt x="502" y="159"/>
                        <a:pt x="502" y="159"/>
                        <a:pt x="502" y="159"/>
                      </a:cubicBezTo>
                      <a:cubicBezTo>
                        <a:pt x="504" y="159"/>
                        <a:pt x="506" y="158"/>
                        <a:pt x="507" y="156"/>
                      </a:cubicBezTo>
                      <a:cubicBezTo>
                        <a:pt x="509" y="154"/>
                        <a:pt x="508" y="152"/>
                        <a:pt x="507" y="150"/>
                      </a:cubicBezTo>
                      <a:close/>
                      <a:moveTo>
                        <a:pt x="182" y="187"/>
                      </a:moveTo>
                      <a:cubicBezTo>
                        <a:pt x="21" y="113"/>
                        <a:pt x="21" y="113"/>
                        <a:pt x="21" y="113"/>
                      </a:cubicBezTo>
                      <a:cubicBezTo>
                        <a:pt x="182" y="40"/>
                        <a:pt x="182" y="40"/>
                        <a:pt x="182" y="40"/>
                      </a:cubicBezTo>
                      <a:lnTo>
                        <a:pt x="182" y="187"/>
                      </a:lnTo>
                      <a:close/>
                    </a:path>
                  </a:pathLst>
                </a:custGeom>
                <a:solidFill>
                  <a:schemeClr val="bg1">
                    <a:lumMod val="95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id-ID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id-ID"/>
                </a:p>
              </p:txBody>
            </p:sp>
            <p:sp>
              <p:nvSpPr>
                <p:cNvPr id="31" name="îśḷíḋe"/>
                <p:cNvSpPr/>
                <p:nvPr/>
              </p:nvSpPr>
              <p:spPr bwMode="auto">
                <a:xfrm>
                  <a:off x="4018522" y="3100360"/>
                  <a:ext cx="1761406" cy="2272051"/>
                </a:xfrm>
                <a:custGeom>
                  <a:avLst/>
                  <a:gdLst>
                    <a:gd name="T0" fmla="*/ 177 w 300"/>
                    <a:gd name="T1" fmla="*/ 305 h 397"/>
                    <a:gd name="T2" fmla="*/ 161 w 300"/>
                    <a:gd name="T3" fmla="*/ 305 h 397"/>
                    <a:gd name="T4" fmla="*/ 232 w 300"/>
                    <a:gd name="T5" fmla="*/ 190 h 397"/>
                    <a:gd name="T6" fmla="*/ 265 w 300"/>
                    <a:gd name="T7" fmla="*/ 211 h 397"/>
                    <a:gd name="T8" fmla="*/ 269 w 300"/>
                    <a:gd name="T9" fmla="*/ 212 h 397"/>
                    <a:gd name="T10" fmla="*/ 271 w 300"/>
                    <a:gd name="T11" fmla="*/ 211 h 397"/>
                    <a:gd name="T12" fmla="*/ 275 w 300"/>
                    <a:gd name="T13" fmla="*/ 206 h 397"/>
                    <a:gd name="T14" fmla="*/ 300 w 300"/>
                    <a:gd name="T15" fmla="*/ 8 h 397"/>
                    <a:gd name="T16" fmla="*/ 297 w 300"/>
                    <a:gd name="T17" fmla="*/ 2 h 397"/>
                    <a:gd name="T18" fmla="*/ 290 w 300"/>
                    <a:gd name="T19" fmla="*/ 2 h 397"/>
                    <a:gd name="T20" fmla="*/ 124 w 300"/>
                    <a:gd name="T21" fmla="*/ 113 h 397"/>
                    <a:gd name="T22" fmla="*/ 121 w 300"/>
                    <a:gd name="T23" fmla="*/ 119 h 397"/>
                    <a:gd name="T24" fmla="*/ 124 w 300"/>
                    <a:gd name="T25" fmla="*/ 124 h 397"/>
                    <a:gd name="T26" fmla="*/ 154 w 300"/>
                    <a:gd name="T27" fmla="*/ 142 h 397"/>
                    <a:gd name="T28" fmla="*/ 2 w 300"/>
                    <a:gd name="T29" fmla="*/ 387 h 397"/>
                    <a:gd name="T30" fmla="*/ 2 w 300"/>
                    <a:gd name="T31" fmla="*/ 393 h 397"/>
                    <a:gd name="T32" fmla="*/ 7 w 300"/>
                    <a:gd name="T33" fmla="*/ 397 h 397"/>
                    <a:gd name="T34" fmla="*/ 163 w 300"/>
                    <a:gd name="T35" fmla="*/ 397 h 397"/>
                    <a:gd name="T36" fmla="*/ 169 w 300"/>
                    <a:gd name="T37" fmla="*/ 390 h 397"/>
                    <a:gd name="T38" fmla="*/ 163 w 300"/>
                    <a:gd name="T39" fmla="*/ 384 h 397"/>
                    <a:gd name="T40" fmla="*/ 18 w 300"/>
                    <a:gd name="T41" fmla="*/ 384 h 397"/>
                    <a:gd name="T42" fmla="*/ 165 w 300"/>
                    <a:gd name="T43" fmla="*/ 149 h 397"/>
                    <a:gd name="T44" fmla="*/ 188 w 300"/>
                    <a:gd name="T45" fmla="*/ 163 h 397"/>
                    <a:gd name="T46" fmla="*/ 73 w 300"/>
                    <a:gd name="T47" fmla="*/ 347 h 397"/>
                    <a:gd name="T48" fmla="*/ 73 w 300"/>
                    <a:gd name="T49" fmla="*/ 354 h 397"/>
                    <a:gd name="T50" fmla="*/ 78 w 300"/>
                    <a:gd name="T51" fmla="*/ 357 h 397"/>
                    <a:gd name="T52" fmla="*/ 170 w 300"/>
                    <a:gd name="T53" fmla="*/ 357 h 397"/>
                    <a:gd name="T54" fmla="*/ 176 w 300"/>
                    <a:gd name="T55" fmla="*/ 351 h 397"/>
                    <a:gd name="T56" fmla="*/ 170 w 300"/>
                    <a:gd name="T57" fmla="*/ 344 h 397"/>
                    <a:gd name="T58" fmla="*/ 90 w 300"/>
                    <a:gd name="T59" fmla="*/ 344 h 397"/>
                    <a:gd name="T60" fmla="*/ 199 w 300"/>
                    <a:gd name="T61" fmla="*/ 170 h 397"/>
                    <a:gd name="T62" fmla="*/ 222 w 300"/>
                    <a:gd name="T63" fmla="*/ 184 h 397"/>
                    <a:gd name="T64" fmla="*/ 144 w 300"/>
                    <a:gd name="T65" fmla="*/ 308 h 397"/>
                    <a:gd name="T66" fmla="*/ 144 w 300"/>
                    <a:gd name="T67" fmla="*/ 314 h 397"/>
                    <a:gd name="T68" fmla="*/ 150 w 300"/>
                    <a:gd name="T69" fmla="*/ 317 h 397"/>
                    <a:gd name="T70" fmla="*/ 177 w 300"/>
                    <a:gd name="T71" fmla="*/ 317 h 397"/>
                    <a:gd name="T72" fmla="*/ 183 w 300"/>
                    <a:gd name="T73" fmla="*/ 311 h 397"/>
                    <a:gd name="T74" fmla="*/ 177 w 300"/>
                    <a:gd name="T75" fmla="*/ 305 h 397"/>
                    <a:gd name="T76" fmla="*/ 285 w 300"/>
                    <a:gd name="T77" fmla="*/ 20 h 397"/>
                    <a:gd name="T78" fmla="*/ 264 w 300"/>
                    <a:gd name="T79" fmla="*/ 195 h 397"/>
                    <a:gd name="T80" fmla="*/ 234 w 300"/>
                    <a:gd name="T81" fmla="*/ 177 h 397"/>
                    <a:gd name="T82" fmla="*/ 234 w 300"/>
                    <a:gd name="T83" fmla="*/ 176 h 397"/>
                    <a:gd name="T84" fmla="*/ 233 w 300"/>
                    <a:gd name="T85" fmla="*/ 176 h 397"/>
                    <a:gd name="T86" fmla="*/ 202 w 300"/>
                    <a:gd name="T87" fmla="*/ 157 h 397"/>
                    <a:gd name="T88" fmla="*/ 200 w 300"/>
                    <a:gd name="T89" fmla="*/ 155 h 397"/>
                    <a:gd name="T90" fmla="*/ 198 w 300"/>
                    <a:gd name="T91" fmla="*/ 155 h 397"/>
                    <a:gd name="T92" fmla="*/ 168 w 300"/>
                    <a:gd name="T93" fmla="*/ 136 h 397"/>
                    <a:gd name="T94" fmla="*/ 166 w 300"/>
                    <a:gd name="T95" fmla="*/ 134 h 397"/>
                    <a:gd name="T96" fmla="*/ 164 w 300"/>
                    <a:gd name="T97" fmla="*/ 134 h 397"/>
                    <a:gd name="T98" fmla="*/ 139 w 300"/>
                    <a:gd name="T99" fmla="*/ 118 h 397"/>
                    <a:gd name="T100" fmla="*/ 285 w 300"/>
                    <a:gd name="T101" fmla="*/ 20 h 39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300" h="397">
                      <a:moveTo>
                        <a:pt x="177" y="305"/>
                      </a:moveTo>
                      <a:cubicBezTo>
                        <a:pt x="161" y="305"/>
                        <a:pt x="161" y="305"/>
                        <a:pt x="161" y="305"/>
                      </a:cubicBezTo>
                      <a:cubicBezTo>
                        <a:pt x="232" y="190"/>
                        <a:pt x="232" y="190"/>
                        <a:pt x="232" y="190"/>
                      </a:cubicBezTo>
                      <a:cubicBezTo>
                        <a:pt x="265" y="211"/>
                        <a:pt x="265" y="211"/>
                        <a:pt x="265" y="211"/>
                      </a:cubicBezTo>
                      <a:cubicBezTo>
                        <a:pt x="266" y="211"/>
                        <a:pt x="268" y="212"/>
                        <a:pt x="269" y="212"/>
                      </a:cubicBezTo>
                      <a:cubicBezTo>
                        <a:pt x="270" y="212"/>
                        <a:pt x="271" y="212"/>
                        <a:pt x="271" y="211"/>
                      </a:cubicBezTo>
                      <a:cubicBezTo>
                        <a:pt x="273" y="210"/>
                        <a:pt x="275" y="208"/>
                        <a:pt x="275" y="206"/>
                      </a:cubicBezTo>
                      <a:cubicBezTo>
                        <a:pt x="300" y="8"/>
                        <a:pt x="300" y="8"/>
                        <a:pt x="300" y="8"/>
                      </a:cubicBezTo>
                      <a:cubicBezTo>
                        <a:pt x="300" y="5"/>
                        <a:pt x="299" y="3"/>
                        <a:pt x="297" y="2"/>
                      </a:cubicBezTo>
                      <a:cubicBezTo>
                        <a:pt x="295" y="0"/>
                        <a:pt x="292" y="0"/>
                        <a:pt x="290" y="2"/>
                      </a:cubicBezTo>
                      <a:cubicBezTo>
                        <a:pt x="124" y="113"/>
                        <a:pt x="124" y="113"/>
                        <a:pt x="124" y="113"/>
                      </a:cubicBezTo>
                      <a:cubicBezTo>
                        <a:pt x="122" y="114"/>
                        <a:pt x="121" y="116"/>
                        <a:pt x="121" y="119"/>
                      </a:cubicBezTo>
                      <a:cubicBezTo>
                        <a:pt x="121" y="121"/>
                        <a:pt x="122" y="123"/>
                        <a:pt x="124" y="124"/>
                      </a:cubicBezTo>
                      <a:cubicBezTo>
                        <a:pt x="154" y="142"/>
                        <a:pt x="154" y="142"/>
                        <a:pt x="154" y="142"/>
                      </a:cubicBezTo>
                      <a:cubicBezTo>
                        <a:pt x="2" y="387"/>
                        <a:pt x="2" y="387"/>
                        <a:pt x="2" y="387"/>
                      </a:cubicBezTo>
                      <a:cubicBezTo>
                        <a:pt x="1" y="389"/>
                        <a:pt x="0" y="391"/>
                        <a:pt x="2" y="393"/>
                      </a:cubicBezTo>
                      <a:cubicBezTo>
                        <a:pt x="3" y="395"/>
                        <a:pt x="5" y="397"/>
                        <a:pt x="7" y="397"/>
                      </a:cubicBezTo>
                      <a:cubicBezTo>
                        <a:pt x="163" y="397"/>
                        <a:pt x="163" y="397"/>
                        <a:pt x="163" y="397"/>
                      </a:cubicBezTo>
                      <a:cubicBezTo>
                        <a:pt x="166" y="397"/>
                        <a:pt x="169" y="394"/>
                        <a:pt x="169" y="390"/>
                      </a:cubicBezTo>
                      <a:cubicBezTo>
                        <a:pt x="169" y="387"/>
                        <a:pt x="166" y="384"/>
                        <a:pt x="163" y="384"/>
                      </a:cubicBezTo>
                      <a:cubicBezTo>
                        <a:pt x="18" y="384"/>
                        <a:pt x="18" y="384"/>
                        <a:pt x="18" y="384"/>
                      </a:cubicBezTo>
                      <a:cubicBezTo>
                        <a:pt x="165" y="149"/>
                        <a:pt x="165" y="149"/>
                        <a:pt x="165" y="149"/>
                      </a:cubicBezTo>
                      <a:cubicBezTo>
                        <a:pt x="188" y="163"/>
                        <a:pt x="188" y="163"/>
                        <a:pt x="188" y="163"/>
                      </a:cubicBezTo>
                      <a:cubicBezTo>
                        <a:pt x="73" y="347"/>
                        <a:pt x="73" y="347"/>
                        <a:pt x="73" y="347"/>
                      </a:cubicBezTo>
                      <a:cubicBezTo>
                        <a:pt x="72" y="349"/>
                        <a:pt x="72" y="352"/>
                        <a:pt x="73" y="354"/>
                      </a:cubicBezTo>
                      <a:cubicBezTo>
                        <a:pt x="74" y="356"/>
                        <a:pt x="76" y="357"/>
                        <a:pt x="78" y="357"/>
                      </a:cubicBezTo>
                      <a:cubicBezTo>
                        <a:pt x="170" y="357"/>
                        <a:pt x="170" y="357"/>
                        <a:pt x="170" y="357"/>
                      </a:cubicBezTo>
                      <a:cubicBezTo>
                        <a:pt x="173" y="357"/>
                        <a:pt x="176" y="354"/>
                        <a:pt x="176" y="351"/>
                      </a:cubicBezTo>
                      <a:cubicBezTo>
                        <a:pt x="176" y="347"/>
                        <a:pt x="173" y="344"/>
                        <a:pt x="170" y="344"/>
                      </a:cubicBezTo>
                      <a:cubicBezTo>
                        <a:pt x="90" y="344"/>
                        <a:pt x="90" y="344"/>
                        <a:pt x="90" y="344"/>
                      </a:cubicBezTo>
                      <a:cubicBezTo>
                        <a:pt x="199" y="170"/>
                        <a:pt x="199" y="170"/>
                        <a:pt x="199" y="170"/>
                      </a:cubicBezTo>
                      <a:cubicBezTo>
                        <a:pt x="222" y="184"/>
                        <a:pt x="222" y="184"/>
                        <a:pt x="222" y="184"/>
                      </a:cubicBezTo>
                      <a:cubicBezTo>
                        <a:pt x="144" y="308"/>
                        <a:pt x="144" y="308"/>
                        <a:pt x="144" y="308"/>
                      </a:cubicBezTo>
                      <a:cubicBezTo>
                        <a:pt x="143" y="310"/>
                        <a:pt x="143" y="312"/>
                        <a:pt x="144" y="314"/>
                      </a:cubicBezTo>
                      <a:cubicBezTo>
                        <a:pt x="145" y="316"/>
                        <a:pt x="147" y="317"/>
                        <a:pt x="150" y="317"/>
                      </a:cubicBezTo>
                      <a:cubicBezTo>
                        <a:pt x="177" y="317"/>
                        <a:pt x="177" y="317"/>
                        <a:pt x="177" y="317"/>
                      </a:cubicBezTo>
                      <a:cubicBezTo>
                        <a:pt x="180" y="317"/>
                        <a:pt x="183" y="315"/>
                        <a:pt x="183" y="311"/>
                      </a:cubicBezTo>
                      <a:cubicBezTo>
                        <a:pt x="183" y="308"/>
                        <a:pt x="180" y="305"/>
                        <a:pt x="177" y="305"/>
                      </a:cubicBezTo>
                      <a:close/>
                      <a:moveTo>
                        <a:pt x="285" y="20"/>
                      </a:moveTo>
                      <a:cubicBezTo>
                        <a:pt x="264" y="195"/>
                        <a:pt x="264" y="195"/>
                        <a:pt x="264" y="195"/>
                      </a:cubicBezTo>
                      <a:cubicBezTo>
                        <a:pt x="234" y="177"/>
                        <a:pt x="234" y="177"/>
                        <a:pt x="234" y="177"/>
                      </a:cubicBezTo>
                      <a:cubicBezTo>
                        <a:pt x="234" y="177"/>
                        <a:pt x="234" y="176"/>
                        <a:pt x="234" y="176"/>
                      </a:cubicBezTo>
                      <a:cubicBezTo>
                        <a:pt x="233" y="176"/>
                        <a:pt x="233" y="176"/>
                        <a:pt x="233" y="176"/>
                      </a:cubicBezTo>
                      <a:cubicBezTo>
                        <a:pt x="202" y="157"/>
                        <a:pt x="202" y="157"/>
                        <a:pt x="202" y="157"/>
                      </a:cubicBezTo>
                      <a:cubicBezTo>
                        <a:pt x="201" y="156"/>
                        <a:pt x="201" y="156"/>
                        <a:pt x="200" y="155"/>
                      </a:cubicBezTo>
                      <a:cubicBezTo>
                        <a:pt x="199" y="155"/>
                        <a:pt x="199" y="155"/>
                        <a:pt x="198" y="155"/>
                      </a:cubicBezTo>
                      <a:cubicBezTo>
                        <a:pt x="168" y="136"/>
                        <a:pt x="168" y="136"/>
                        <a:pt x="168" y="136"/>
                      </a:cubicBezTo>
                      <a:cubicBezTo>
                        <a:pt x="168" y="136"/>
                        <a:pt x="167" y="135"/>
                        <a:pt x="166" y="134"/>
                      </a:cubicBezTo>
                      <a:cubicBezTo>
                        <a:pt x="166" y="134"/>
                        <a:pt x="165" y="134"/>
                        <a:pt x="164" y="134"/>
                      </a:cubicBezTo>
                      <a:cubicBezTo>
                        <a:pt x="139" y="118"/>
                        <a:pt x="139" y="118"/>
                        <a:pt x="139" y="118"/>
                      </a:cubicBezTo>
                      <a:lnTo>
                        <a:pt x="285" y="20"/>
                      </a:lnTo>
                      <a:close/>
                    </a:path>
                  </a:pathLst>
                </a:custGeom>
                <a:solidFill>
                  <a:schemeClr val="bg1">
                    <a:lumMod val="95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id-ID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id-ID"/>
                </a:p>
              </p:txBody>
            </p:sp>
          </p:grpSp>
          <p:grpSp>
            <p:nvGrpSpPr>
              <p:cNvPr id="11" name="iSliḓê"/>
              <p:cNvGrpSpPr/>
              <p:nvPr/>
            </p:nvGrpSpPr>
            <p:grpSpPr>
              <a:xfrm>
                <a:off x="5662272" y="2132458"/>
                <a:ext cx="858332" cy="869060"/>
                <a:chOff x="5662272" y="2132458"/>
                <a:chExt cx="858332" cy="869060"/>
              </a:xfrm>
            </p:grpSpPr>
            <p:sp>
              <p:nvSpPr>
                <p:cNvPr id="27" name="iṧļídê"/>
                <p:cNvSpPr/>
                <p:nvPr/>
              </p:nvSpPr>
              <p:spPr>
                <a:xfrm>
                  <a:off x="5662272" y="2132458"/>
                  <a:ext cx="858332" cy="869060"/>
                </a:xfrm>
                <a:prstGeom prst="ellipse">
                  <a:avLst/>
                </a:prstGeom>
                <a:solidFill>
                  <a:schemeClr val="accent1"/>
                </a:solidFill>
                <a:ln w="2857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/>
                <a:p>
                  <a:endParaRPr lang="zh-CN" alt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8" name="îS1íḓê"/>
                <p:cNvSpPr/>
                <p:nvPr/>
              </p:nvSpPr>
              <p:spPr>
                <a:xfrm>
                  <a:off x="5912920" y="2324246"/>
                  <a:ext cx="357036" cy="485484"/>
                </a:xfrm>
                <a:custGeom>
                  <a:avLst/>
                  <a:gdLst>
                    <a:gd name="connsiteX0" fmla="*/ 326357 w 446820"/>
                    <a:gd name="connsiteY0" fmla="*/ 440469 h 607568"/>
                    <a:gd name="connsiteX1" fmla="*/ 446820 w 446820"/>
                    <a:gd name="connsiteY1" fmla="*/ 519492 h 607568"/>
                    <a:gd name="connsiteX2" fmla="*/ 223410 w 446820"/>
                    <a:gd name="connsiteY2" fmla="*/ 607568 h 607568"/>
                    <a:gd name="connsiteX3" fmla="*/ 0 w 446820"/>
                    <a:gd name="connsiteY3" fmla="*/ 519492 h 607568"/>
                    <a:gd name="connsiteX4" fmla="*/ 114317 w 446820"/>
                    <a:gd name="connsiteY4" fmla="*/ 441543 h 607568"/>
                    <a:gd name="connsiteX5" fmla="*/ 123844 w 446820"/>
                    <a:gd name="connsiteY5" fmla="*/ 507830 h 607568"/>
                    <a:gd name="connsiteX6" fmla="*/ 146891 w 446820"/>
                    <a:gd name="connsiteY6" fmla="*/ 552022 h 607568"/>
                    <a:gd name="connsiteX7" fmla="*/ 193602 w 446820"/>
                    <a:gd name="connsiteY7" fmla="*/ 570588 h 607568"/>
                    <a:gd name="connsiteX8" fmla="*/ 247072 w 446820"/>
                    <a:gd name="connsiteY8" fmla="*/ 570588 h 607568"/>
                    <a:gd name="connsiteX9" fmla="*/ 293783 w 446820"/>
                    <a:gd name="connsiteY9" fmla="*/ 552175 h 607568"/>
                    <a:gd name="connsiteX10" fmla="*/ 316830 w 446820"/>
                    <a:gd name="connsiteY10" fmla="*/ 507984 h 607568"/>
                    <a:gd name="connsiteX11" fmla="*/ 178235 w 446820"/>
                    <a:gd name="connsiteY11" fmla="*/ 145929 h 607568"/>
                    <a:gd name="connsiteX12" fmla="*/ 179618 w 446820"/>
                    <a:gd name="connsiteY12" fmla="*/ 145929 h 607568"/>
                    <a:gd name="connsiteX13" fmla="*/ 220341 w 446820"/>
                    <a:gd name="connsiteY13" fmla="*/ 155440 h 607568"/>
                    <a:gd name="connsiteX14" fmla="*/ 261063 w 446820"/>
                    <a:gd name="connsiteY14" fmla="*/ 145929 h 607568"/>
                    <a:gd name="connsiteX15" fmla="*/ 262446 w 446820"/>
                    <a:gd name="connsiteY15" fmla="*/ 145929 h 607568"/>
                    <a:gd name="connsiteX16" fmla="*/ 341279 w 446820"/>
                    <a:gd name="connsiteY16" fmla="*/ 217875 h 607568"/>
                    <a:gd name="connsiteX17" fmla="*/ 356492 w 446820"/>
                    <a:gd name="connsiteY17" fmla="*/ 323875 h 607568"/>
                    <a:gd name="connsiteX18" fmla="*/ 348809 w 446820"/>
                    <a:gd name="connsiteY18" fmla="*/ 340289 h 607568"/>
                    <a:gd name="connsiteX19" fmla="*/ 308086 w 446820"/>
                    <a:gd name="connsiteY19" fmla="*/ 365447 h 607568"/>
                    <a:gd name="connsiteX20" fmla="*/ 288416 w 446820"/>
                    <a:gd name="connsiteY20" fmla="*/ 504123 h 607568"/>
                    <a:gd name="connsiteX21" fmla="*/ 247079 w 446820"/>
                    <a:gd name="connsiteY21" fmla="*/ 542013 h 607568"/>
                    <a:gd name="connsiteX22" fmla="*/ 193602 w 446820"/>
                    <a:gd name="connsiteY22" fmla="*/ 542013 h 607568"/>
                    <a:gd name="connsiteX23" fmla="*/ 152265 w 446820"/>
                    <a:gd name="connsiteY23" fmla="*/ 503969 h 607568"/>
                    <a:gd name="connsiteX24" fmla="*/ 132441 w 446820"/>
                    <a:gd name="connsiteY24" fmla="*/ 365447 h 607568"/>
                    <a:gd name="connsiteX25" fmla="*/ 91873 w 446820"/>
                    <a:gd name="connsiteY25" fmla="*/ 340289 h 607568"/>
                    <a:gd name="connsiteX26" fmla="*/ 84189 w 446820"/>
                    <a:gd name="connsiteY26" fmla="*/ 323875 h 607568"/>
                    <a:gd name="connsiteX27" fmla="*/ 99249 w 446820"/>
                    <a:gd name="connsiteY27" fmla="*/ 218028 h 607568"/>
                    <a:gd name="connsiteX28" fmla="*/ 178235 w 446820"/>
                    <a:gd name="connsiteY28" fmla="*/ 145929 h 607568"/>
                    <a:gd name="connsiteX29" fmla="*/ 220270 w 446820"/>
                    <a:gd name="connsiteY29" fmla="*/ 0 h 607568"/>
                    <a:gd name="connsiteX30" fmla="*/ 283320 w 446820"/>
                    <a:gd name="connsiteY30" fmla="*/ 63368 h 607568"/>
                    <a:gd name="connsiteX31" fmla="*/ 220270 w 446820"/>
                    <a:gd name="connsiteY31" fmla="*/ 126736 h 607568"/>
                    <a:gd name="connsiteX32" fmla="*/ 157220 w 446820"/>
                    <a:gd name="connsiteY32" fmla="*/ 63368 h 607568"/>
                    <a:gd name="connsiteX33" fmla="*/ 220270 w 446820"/>
                    <a:gd name="connsiteY33" fmla="*/ 0 h 6075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</a:cxnLst>
                  <a:rect l="l" t="t" r="r" b="b"/>
                  <a:pathLst>
                    <a:path w="446820" h="607568">
                      <a:moveTo>
                        <a:pt x="326357" y="440469"/>
                      </a:moveTo>
                      <a:cubicBezTo>
                        <a:pt x="393964" y="452898"/>
                        <a:pt x="446820" y="478676"/>
                        <a:pt x="446820" y="519492"/>
                      </a:cubicBezTo>
                      <a:cubicBezTo>
                        <a:pt x="446820" y="580102"/>
                        <a:pt x="330966" y="607568"/>
                        <a:pt x="223410" y="607568"/>
                      </a:cubicBezTo>
                      <a:cubicBezTo>
                        <a:pt x="115854" y="607568"/>
                        <a:pt x="0" y="580102"/>
                        <a:pt x="0" y="519492"/>
                      </a:cubicBezTo>
                      <a:cubicBezTo>
                        <a:pt x="0" y="479904"/>
                        <a:pt x="49783" y="454432"/>
                        <a:pt x="114317" y="441543"/>
                      </a:cubicBezTo>
                      <a:lnTo>
                        <a:pt x="123844" y="507830"/>
                      </a:lnTo>
                      <a:cubicBezTo>
                        <a:pt x="125995" y="524709"/>
                        <a:pt x="134292" y="540514"/>
                        <a:pt x="146891" y="552022"/>
                      </a:cubicBezTo>
                      <a:cubicBezTo>
                        <a:pt x="159952" y="563990"/>
                        <a:pt x="176546" y="570588"/>
                        <a:pt x="193602" y="570588"/>
                      </a:cubicBezTo>
                      <a:lnTo>
                        <a:pt x="247072" y="570588"/>
                      </a:lnTo>
                      <a:cubicBezTo>
                        <a:pt x="264128" y="570588"/>
                        <a:pt x="280722" y="564144"/>
                        <a:pt x="293783" y="552175"/>
                      </a:cubicBezTo>
                      <a:cubicBezTo>
                        <a:pt x="306382" y="540514"/>
                        <a:pt x="314526" y="524862"/>
                        <a:pt x="316830" y="507984"/>
                      </a:cubicBezTo>
                      <a:close/>
                      <a:moveTo>
                        <a:pt x="178235" y="145929"/>
                      </a:moveTo>
                      <a:lnTo>
                        <a:pt x="179618" y="145929"/>
                      </a:lnTo>
                      <a:cubicBezTo>
                        <a:pt x="191912" y="151912"/>
                        <a:pt x="205742" y="155440"/>
                        <a:pt x="220341" y="155440"/>
                      </a:cubicBezTo>
                      <a:cubicBezTo>
                        <a:pt x="234939" y="155440"/>
                        <a:pt x="248769" y="151912"/>
                        <a:pt x="261063" y="145929"/>
                      </a:cubicBezTo>
                      <a:lnTo>
                        <a:pt x="262446" y="145929"/>
                      </a:lnTo>
                      <a:cubicBezTo>
                        <a:pt x="299788" y="145929"/>
                        <a:pt x="335286" y="178143"/>
                        <a:pt x="341279" y="217875"/>
                      </a:cubicBezTo>
                      <a:lnTo>
                        <a:pt x="356492" y="323875"/>
                      </a:lnTo>
                      <a:cubicBezTo>
                        <a:pt x="357414" y="330472"/>
                        <a:pt x="354341" y="336915"/>
                        <a:pt x="348809" y="340289"/>
                      </a:cubicBezTo>
                      <a:lnTo>
                        <a:pt x="308086" y="365447"/>
                      </a:lnTo>
                      <a:lnTo>
                        <a:pt x="288416" y="504123"/>
                      </a:lnTo>
                      <a:cubicBezTo>
                        <a:pt x="285650" y="525292"/>
                        <a:pt x="267517" y="542013"/>
                        <a:pt x="247079" y="542013"/>
                      </a:cubicBezTo>
                      <a:lnTo>
                        <a:pt x="193602" y="542013"/>
                      </a:lnTo>
                      <a:cubicBezTo>
                        <a:pt x="173164" y="542013"/>
                        <a:pt x="155031" y="525292"/>
                        <a:pt x="152265" y="503969"/>
                      </a:cubicBezTo>
                      <a:lnTo>
                        <a:pt x="132441" y="365447"/>
                      </a:lnTo>
                      <a:lnTo>
                        <a:pt x="91873" y="340289"/>
                      </a:lnTo>
                      <a:cubicBezTo>
                        <a:pt x="86340" y="336915"/>
                        <a:pt x="83267" y="330472"/>
                        <a:pt x="84189" y="323875"/>
                      </a:cubicBezTo>
                      <a:lnTo>
                        <a:pt x="99249" y="218028"/>
                      </a:lnTo>
                      <a:cubicBezTo>
                        <a:pt x="105395" y="178143"/>
                        <a:pt x="140740" y="145929"/>
                        <a:pt x="178235" y="145929"/>
                      </a:cubicBezTo>
                      <a:close/>
                      <a:moveTo>
                        <a:pt x="220270" y="0"/>
                      </a:moveTo>
                      <a:cubicBezTo>
                        <a:pt x="255092" y="0"/>
                        <a:pt x="283320" y="28371"/>
                        <a:pt x="283320" y="63368"/>
                      </a:cubicBezTo>
                      <a:cubicBezTo>
                        <a:pt x="283320" y="98365"/>
                        <a:pt x="255092" y="126736"/>
                        <a:pt x="220270" y="126736"/>
                      </a:cubicBezTo>
                      <a:cubicBezTo>
                        <a:pt x="185448" y="126736"/>
                        <a:pt x="157220" y="98365"/>
                        <a:pt x="157220" y="63368"/>
                      </a:cubicBezTo>
                      <a:cubicBezTo>
                        <a:pt x="157220" y="28371"/>
                        <a:pt x="185448" y="0"/>
                        <a:pt x="220270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3175" cap="rnd">
                  <a:noFill/>
                  <a:prstDash val="solid"/>
                  <a:round/>
                  <a:headEnd/>
                  <a:tailE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 defTabSz="914354"/>
                  <a:endParaRPr lang="zh-CN" altLang="en-US" sz="2000" b="1" i="1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12" name="îşlíḓe"/>
              <p:cNvGrpSpPr/>
              <p:nvPr/>
            </p:nvGrpSpPr>
            <p:grpSpPr>
              <a:xfrm>
                <a:off x="4087290" y="4262882"/>
                <a:ext cx="858332" cy="869060"/>
                <a:chOff x="4087290" y="4262882"/>
                <a:chExt cx="858332" cy="869060"/>
              </a:xfrm>
            </p:grpSpPr>
            <p:sp>
              <p:nvSpPr>
                <p:cNvPr id="25" name="iṡḷiďe"/>
                <p:cNvSpPr/>
                <p:nvPr/>
              </p:nvSpPr>
              <p:spPr>
                <a:xfrm>
                  <a:off x="4087290" y="4262882"/>
                  <a:ext cx="858332" cy="869060"/>
                </a:xfrm>
                <a:prstGeom prst="ellipse">
                  <a:avLst/>
                </a:prstGeom>
                <a:solidFill>
                  <a:schemeClr val="accent2"/>
                </a:solidFill>
                <a:ln w="2857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/>
                <a:p>
                  <a:endParaRPr lang="zh-CN" altLang="en-US"/>
                </a:p>
              </p:txBody>
            </p:sp>
            <p:sp>
              <p:nvSpPr>
                <p:cNvPr id="26" name="îṥļîḑé"/>
                <p:cNvSpPr/>
                <p:nvPr/>
              </p:nvSpPr>
              <p:spPr>
                <a:xfrm>
                  <a:off x="4337938" y="4454670"/>
                  <a:ext cx="357036" cy="485484"/>
                </a:xfrm>
                <a:custGeom>
                  <a:avLst/>
                  <a:gdLst>
                    <a:gd name="connsiteX0" fmla="*/ 326357 w 446820"/>
                    <a:gd name="connsiteY0" fmla="*/ 440469 h 607568"/>
                    <a:gd name="connsiteX1" fmla="*/ 446820 w 446820"/>
                    <a:gd name="connsiteY1" fmla="*/ 519492 h 607568"/>
                    <a:gd name="connsiteX2" fmla="*/ 223410 w 446820"/>
                    <a:gd name="connsiteY2" fmla="*/ 607568 h 607568"/>
                    <a:gd name="connsiteX3" fmla="*/ 0 w 446820"/>
                    <a:gd name="connsiteY3" fmla="*/ 519492 h 607568"/>
                    <a:gd name="connsiteX4" fmla="*/ 114317 w 446820"/>
                    <a:gd name="connsiteY4" fmla="*/ 441543 h 607568"/>
                    <a:gd name="connsiteX5" fmla="*/ 123844 w 446820"/>
                    <a:gd name="connsiteY5" fmla="*/ 507830 h 607568"/>
                    <a:gd name="connsiteX6" fmla="*/ 146891 w 446820"/>
                    <a:gd name="connsiteY6" fmla="*/ 552022 h 607568"/>
                    <a:gd name="connsiteX7" fmla="*/ 193602 w 446820"/>
                    <a:gd name="connsiteY7" fmla="*/ 570588 h 607568"/>
                    <a:gd name="connsiteX8" fmla="*/ 247072 w 446820"/>
                    <a:gd name="connsiteY8" fmla="*/ 570588 h 607568"/>
                    <a:gd name="connsiteX9" fmla="*/ 293783 w 446820"/>
                    <a:gd name="connsiteY9" fmla="*/ 552175 h 607568"/>
                    <a:gd name="connsiteX10" fmla="*/ 316830 w 446820"/>
                    <a:gd name="connsiteY10" fmla="*/ 507984 h 607568"/>
                    <a:gd name="connsiteX11" fmla="*/ 178235 w 446820"/>
                    <a:gd name="connsiteY11" fmla="*/ 145929 h 607568"/>
                    <a:gd name="connsiteX12" fmla="*/ 179618 w 446820"/>
                    <a:gd name="connsiteY12" fmla="*/ 145929 h 607568"/>
                    <a:gd name="connsiteX13" fmla="*/ 220341 w 446820"/>
                    <a:gd name="connsiteY13" fmla="*/ 155440 h 607568"/>
                    <a:gd name="connsiteX14" fmla="*/ 261063 w 446820"/>
                    <a:gd name="connsiteY14" fmla="*/ 145929 h 607568"/>
                    <a:gd name="connsiteX15" fmla="*/ 262446 w 446820"/>
                    <a:gd name="connsiteY15" fmla="*/ 145929 h 607568"/>
                    <a:gd name="connsiteX16" fmla="*/ 341279 w 446820"/>
                    <a:gd name="connsiteY16" fmla="*/ 217875 h 607568"/>
                    <a:gd name="connsiteX17" fmla="*/ 356492 w 446820"/>
                    <a:gd name="connsiteY17" fmla="*/ 323875 h 607568"/>
                    <a:gd name="connsiteX18" fmla="*/ 348809 w 446820"/>
                    <a:gd name="connsiteY18" fmla="*/ 340289 h 607568"/>
                    <a:gd name="connsiteX19" fmla="*/ 308086 w 446820"/>
                    <a:gd name="connsiteY19" fmla="*/ 365447 h 607568"/>
                    <a:gd name="connsiteX20" fmla="*/ 288416 w 446820"/>
                    <a:gd name="connsiteY20" fmla="*/ 504123 h 607568"/>
                    <a:gd name="connsiteX21" fmla="*/ 247079 w 446820"/>
                    <a:gd name="connsiteY21" fmla="*/ 542013 h 607568"/>
                    <a:gd name="connsiteX22" fmla="*/ 193602 w 446820"/>
                    <a:gd name="connsiteY22" fmla="*/ 542013 h 607568"/>
                    <a:gd name="connsiteX23" fmla="*/ 152265 w 446820"/>
                    <a:gd name="connsiteY23" fmla="*/ 503969 h 607568"/>
                    <a:gd name="connsiteX24" fmla="*/ 132441 w 446820"/>
                    <a:gd name="connsiteY24" fmla="*/ 365447 h 607568"/>
                    <a:gd name="connsiteX25" fmla="*/ 91873 w 446820"/>
                    <a:gd name="connsiteY25" fmla="*/ 340289 h 607568"/>
                    <a:gd name="connsiteX26" fmla="*/ 84189 w 446820"/>
                    <a:gd name="connsiteY26" fmla="*/ 323875 h 607568"/>
                    <a:gd name="connsiteX27" fmla="*/ 99249 w 446820"/>
                    <a:gd name="connsiteY27" fmla="*/ 218028 h 607568"/>
                    <a:gd name="connsiteX28" fmla="*/ 178235 w 446820"/>
                    <a:gd name="connsiteY28" fmla="*/ 145929 h 607568"/>
                    <a:gd name="connsiteX29" fmla="*/ 220270 w 446820"/>
                    <a:gd name="connsiteY29" fmla="*/ 0 h 607568"/>
                    <a:gd name="connsiteX30" fmla="*/ 283320 w 446820"/>
                    <a:gd name="connsiteY30" fmla="*/ 63368 h 607568"/>
                    <a:gd name="connsiteX31" fmla="*/ 220270 w 446820"/>
                    <a:gd name="connsiteY31" fmla="*/ 126736 h 607568"/>
                    <a:gd name="connsiteX32" fmla="*/ 157220 w 446820"/>
                    <a:gd name="connsiteY32" fmla="*/ 63368 h 607568"/>
                    <a:gd name="connsiteX33" fmla="*/ 220270 w 446820"/>
                    <a:gd name="connsiteY33" fmla="*/ 0 h 6075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</a:cxnLst>
                  <a:rect l="l" t="t" r="r" b="b"/>
                  <a:pathLst>
                    <a:path w="446820" h="607568">
                      <a:moveTo>
                        <a:pt x="326357" y="440469"/>
                      </a:moveTo>
                      <a:cubicBezTo>
                        <a:pt x="393964" y="452898"/>
                        <a:pt x="446820" y="478676"/>
                        <a:pt x="446820" y="519492"/>
                      </a:cubicBezTo>
                      <a:cubicBezTo>
                        <a:pt x="446820" y="580102"/>
                        <a:pt x="330966" y="607568"/>
                        <a:pt x="223410" y="607568"/>
                      </a:cubicBezTo>
                      <a:cubicBezTo>
                        <a:pt x="115854" y="607568"/>
                        <a:pt x="0" y="580102"/>
                        <a:pt x="0" y="519492"/>
                      </a:cubicBezTo>
                      <a:cubicBezTo>
                        <a:pt x="0" y="479904"/>
                        <a:pt x="49783" y="454432"/>
                        <a:pt x="114317" y="441543"/>
                      </a:cubicBezTo>
                      <a:lnTo>
                        <a:pt x="123844" y="507830"/>
                      </a:lnTo>
                      <a:cubicBezTo>
                        <a:pt x="125995" y="524709"/>
                        <a:pt x="134292" y="540514"/>
                        <a:pt x="146891" y="552022"/>
                      </a:cubicBezTo>
                      <a:cubicBezTo>
                        <a:pt x="159952" y="563990"/>
                        <a:pt x="176546" y="570588"/>
                        <a:pt x="193602" y="570588"/>
                      </a:cubicBezTo>
                      <a:lnTo>
                        <a:pt x="247072" y="570588"/>
                      </a:lnTo>
                      <a:cubicBezTo>
                        <a:pt x="264128" y="570588"/>
                        <a:pt x="280722" y="564144"/>
                        <a:pt x="293783" y="552175"/>
                      </a:cubicBezTo>
                      <a:cubicBezTo>
                        <a:pt x="306382" y="540514"/>
                        <a:pt x="314526" y="524862"/>
                        <a:pt x="316830" y="507984"/>
                      </a:cubicBezTo>
                      <a:close/>
                      <a:moveTo>
                        <a:pt x="178235" y="145929"/>
                      </a:moveTo>
                      <a:lnTo>
                        <a:pt x="179618" y="145929"/>
                      </a:lnTo>
                      <a:cubicBezTo>
                        <a:pt x="191912" y="151912"/>
                        <a:pt x="205742" y="155440"/>
                        <a:pt x="220341" y="155440"/>
                      </a:cubicBezTo>
                      <a:cubicBezTo>
                        <a:pt x="234939" y="155440"/>
                        <a:pt x="248769" y="151912"/>
                        <a:pt x="261063" y="145929"/>
                      </a:cubicBezTo>
                      <a:lnTo>
                        <a:pt x="262446" y="145929"/>
                      </a:lnTo>
                      <a:cubicBezTo>
                        <a:pt x="299788" y="145929"/>
                        <a:pt x="335286" y="178143"/>
                        <a:pt x="341279" y="217875"/>
                      </a:cubicBezTo>
                      <a:lnTo>
                        <a:pt x="356492" y="323875"/>
                      </a:lnTo>
                      <a:cubicBezTo>
                        <a:pt x="357414" y="330472"/>
                        <a:pt x="354341" y="336915"/>
                        <a:pt x="348809" y="340289"/>
                      </a:cubicBezTo>
                      <a:lnTo>
                        <a:pt x="308086" y="365447"/>
                      </a:lnTo>
                      <a:lnTo>
                        <a:pt x="288416" y="504123"/>
                      </a:lnTo>
                      <a:cubicBezTo>
                        <a:pt x="285650" y="525292"/>
                        <a:pt x="267517" y="542013"/>
                        <a:pt x="247079" y="542013"/>
                      </a:cubicBezTo>
                      <a:lnTo>
                        <a:pt x="193602" y="542013"/>
                      </a:lnTo>
                      <a:cubicBezTo>
                        <a:pt x="173164" y="542013"/>
                        <a:pt x="155031" y="525292"/>
                        <a:pt x="152265" y="503969"/>
                      </a:cubicBezTo>
                      <a:lnTo>
                        <a:pt x="132441" y="365447"/>
                      </a:lnTo>
                      <a:lnTo>
                        <a:pt x="91873" y="340289"/>
                      </a:lnTo>
                      <a:cubicBezTo>
                        <a:pt x="86340" y="336915"/>
                        <a:pt x="83267" y="330472"/>
                        <a:pt x="84189" y="323875"/>
                      </a:cubicBezTo>
                      <a:lnTo>
                        <a:pt x="99249" y="218028"/>
                      </a:lnTo>
                      <a:cubicBezTo>
                        <a:pt x="105395" y="178143"/>
                        <a:pt x="140740" y="145929"/>
                        <a:pt x="178235" y="145929"/>
                      </a:cubicBezTo>
                      <a:close/>
                      <a:moveTo>
                        <a:pt x="220270" y="0"/>
                      </a:moveTo>
                      <a:cubicBezTo>
                        <a:pt x="255092" y="0"/>
                        <a:pt x="283320" y="28371"/>
                        <a:pt x="283320" y="63368"/>
                      </a:cubicBezTo>
                      <a:cubicBezTo>
                        <a:pt x="283320" y="98365"/>
                        <a:pt x="255092" y="126736"/>
                        <a:pt x="220270" y="126736"/>
                      </a:cubicBezTo>
                      <a:cubicBezTo>
                        <a:pt x="185448" y="126736"/>
                        <a:pt x="157220" y="98365"/>
                        <a:pt x="157220" y="63368"/>
                      </a:cubicBezTo>
                      <a:cubicBezTo>
                        <a:pt x="157220" y="28371"/>
                        <a:pt x="185448" y="0"/>
                        <a:pt x="220270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3175" cap="rnd">
                  <a:noFill/>
                  <a:prstDash val="solid"/>
                  <a:round/>
                  <a:headEnd/>
                  <a:tailE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 defTabSz="914354"/>
                  <a:endParaRPr lang="zh-CN" altLang="en-US" sz="2000" b="1" i="1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13" name="îṥľîďé"/>
              <p:cNvGrpSpPr/>
              <p:nvPr/>
            </p:nvGrpSpPr>
            <p:grpSpPr>
              <a:xfrm>
                <a:off x="7233678" y="4262882"/>
                <a:ext cx="858332" cy="869060"/>
                <a:chOff x="7233678" y="4262882"/>
                <a:chExt cx="858332" cy="869060"/>
              </a:xfrm>
            </p:grpSpPr>
            <p:sp>
              <p:nvSpPr>
                <p:cNvPr id="23" name="išḷiḑè"/>
                <p:cNvSpPr/>
                <p:nvPr/>
              </p:nvSpPr>
              <p:spPr>
                <a:xfrm>
                  <a:off x="7233678" y="4262882"/>
                  <a:ext cx="858332" cy="869060"/>
                </a:xfrm>
                <a:prstGeom prst="ellipse">
                  <a:avLst/>
                </a:prstGeom>
                <a:solidFill>
                  <a:schemeClr val="accent3"/>
                </a:solidFill>
                <a:ln w="2857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/>
                <a:p>
                  <a:endParaRPr lang="zh-CN" altLang="en-US"/>
                </a:p>
              </p:txBody>
            </p:sp>
            <p:sp>
              <p:nvSpPr>
                <p:cNvPr id="24" name="ïś1îḑé"/>
                <p:cNvSpPr/>
                <p:nvPr/>
              </p:nvSpPr>
              <p:spPr>
                <a:xfrm>
                  <a:off x="7484326" y="4454670"/>
                  <a:ext cx="357036" cy="485484"/>
                </a:xfrm>
                <a:custGeom>
                  <a:avLst/>
                  <a:gdLst>
                    <a:gd name="connsiteX0" fmla="*/ 326357 w 446820"/>
                    <a:gd name="connsiteY0" fmla="*/ 440469 h 607568"/>
                    <a:gd name="connsiteX1" fmla="*/ 446820 w 446820"/>
                    <a:gd name="connsiteY1" fmla="*/ 519492 h 607568"/>
                    <a:gd name="connsiteX2" fmla="*/ 223410 w 446820"/>
                    <a:gd name="connsiteY2" fmla="*/ 607568 h 607568"/>
                    <a:gd name="connsiteX3" fmla="*/ 0 w 446820"/>
                    <a:gd name="connsiteY3" fmla="*/ 519492 h 607568"/>
                    <a:gd name="connsiteX4" fmla="*/ 114317 w 446820"/>
                    <a:gd name="connsiteY4" fmla="*/ 441543 h 607568"/>
                    <a:gd name="connsiteX5" fmla="*/ 123844 w 446820"/>
                    <a:gd name="connsiteY5" fmla="*/ 507830 h 607568"/>
                    <a:gd name="connsiteX6" fmla="*/ 146891 w 446820"/>
                    <a:gd name="connsiteY6" fmla="*/ 552022 h 607568"/>
                    <a:gd name="connsiteX7" fmla="*/ 193602 w 446820"/>
                    <a:gd name="connsiteY7" fmla="*/ 570588 h 607568"/>
                    <a:gd name="connsiteX8" fmla="*/ 247072 w 446820"/>
                    <a:gd name="connsiteY8" fmla="*/ 570588 h 607568"/>
                    <a:gd name="connsiteX9" fmla="*/ 293783 w 446820"/>
                    <a:gd name="connsiteY9" fmla="*/ 552175 h 607568"/>
                    <a:gd name="connsiteX10" fmla="*/ 316830 w 446820"/>
                    <a:gd name="connsiteY10" fmla="*/ 507984 h 607568"/>
                    <a:gd name="connsiteX11" fmla="*/ 178235 w 446820"/>
                    <a:gd name="connsiteY11" fmla="*/ 145929 h 607568"/>
                    <a:gd name="connsiteX12" fmla="*/ 179618 w 446820"/>
                    <a:gd name="connsiteY12" fmla="*/ 145929 h 607568"/>
                    <a:gd name="connsiteX13" fmla="*/ 220341 w 446820"/>
                    <a:gd name="connsiteY13" fmla="*/ 155440 h 607568"/>
                    <a:gd name="connsiteX14" fmla="*/ 261063 w 446820"/>
                    <a:gd name="connsiteY14" fmla="*/ 145929 h 607568"/>
                    <a:gd name="connsiteX15" fmla="*/ 262446 w 446820"/>
                    <a:gd name="connsiteY15" fmla="*/ 145929 h 607568"/>
                    <a:gd name="connsiteX16" fmla="*/ 341279 w 446820"/>
                    <a:gd name="connsiteY16" fmla="*/ 217875 h 607568"/>
                    <a:gd name="connsiteX17" fmla="*/ 356492 w 446820"/>
                    <a:gd name="connsiteY17" fmla="*/ 323875 h 607568"/>
                    <a:gd name="connsiteX18" fmla="*/ 348809 w 446820"/>
                    <a:gd name="connsiteY18" fmla="*/ 340289 h 607568"/>
                    <a:gd name="connsiteX19" fmla="*/ 308086 w 446820"/>
                    <a:gd name="connsiteY19" fmla="*/ 365447 h 607568"/>
                    <a:gd name="connsiteX20" fmla="*/ 288416 w 446820"/>
                    <a:gd name="connsiteY20" fmla="*/ 504123 h 607568"/>
                    <a:gd name="connsiteX21" fmla="*/ 247079 w 446820"/>
                    <a:gd name="connsiteY21" fmla="*/ 542013 h 607568"/>
                    <a:gd name="connsiteX22" fmla="*/ 193602 w 446820"/>
                    <a:gd name="connsiteY22" fmla="*/ 542013 h 607568"/>
                    <a:gd name="connsiteX23" fmla="*/ 152265 w 446820"/>
                    <a:gd name="connsiteY23" fmla="*/ 503969 h 607568"/>
                    <a:gd name="connsiteX24" fmla="*/ 132441 w 446820"/>
                    <a:gd name="connsiteY24" fmla="*/ 365447 h 607568"/>
                    <a:gd name="connsiteX25" fmla="*/ 91873 w 446820"/>
                    <a:gd name="connsiteY25" fmla="*/ 340289 h 607568"/>
                    <a:gd name="connsiteX26" fmla="*/ 84189 w 446820"/>
                    <a:gd name="connsiteY26" fmla="*/ 323875 h 607568"/>
                    <a:gd name="connsiteX27" fmla="*/ 99249 w 446820"/>
                    <a:gd name="connsiteY27" fmla="*/ 218028 h 607568"/>
                    <a:gd name="connsiteX28" fmla="*/ 178235 w 446820"/>
                    <a:gd name="connsiteY28" fmla="*/ 145929 h 607568"/>
                    <a:gd name="connsiteX29" fmla="*/ 220270 w 446820"/>
                    <a:gd name="connsiteY29" fmla="*/ 0 h 607568"/>
                    <a:gd name="connsiteX30" fmla="*/ 283320 w 446820"/>
                    <a:gd name="connsiteY30" fmla="*/ 63368 h 607568"/>
                    <a:gd name="connsiteX31" fmla="*/ 220270 w 446820"/>
                    <a:gd name="connsiteY31" fmla="*/ 126736 h 607568"/>
                    <a:gd name="connsiteX32" fmla="*/ 157220 w 446820"/>
                    <a:gd name="connsiteY32" fmla="*/ 63368 h 607568"/>
                    <a:gd name="connsiteX33" fmla="*/ 220270 w 446820"/>
                    <a:gd name="connsiteY33" fmla="*/ 0 h 6075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</a:cxnLst>
                  <a:rect l="l" t="t" r="r" b="b"/>
                  <a:pathLst>
                    <a:path w="446820" h="607568">
                      <a:moveTo>
                        <a:pt x="326357" y="440469"/>
                      </a:moveTo>
                      <a:cubicBezTo>
                        <a:pt x="393964" y="452898"/>
                        <a:pt x="446820" y="478676"/>
                        <a:pt x="446820" y="519492"/>
                      </a:cubicBezTo>
                      <a:cubicBezTo>
                        <a:pt x="446820" y="580102"/>
                        <a:pt x="330966" y="607568"/>
                        <a:pt x="223410" y="607568"/>
                      </a:cubicBezTo>
                      <a:cubicBezTo>
                        <a:pt x="115854" y="607568"/>
                        <a:pt x="0" y="580102"/>
                        <a:pt x="0" y="519492"/>
                      </a:cubicBezTo>
                      <a:cubicBezTo>
                        <a:pt x="0" y="479904"/>
                        <a:pt x="49783" y="454432"/>
                        <a:pt x="114317" y="441543"/>
                      </a:cubicBezTo>
                      <a:lnTo>
                        <a:pt x="123844" y="507830"/>
                      </a:lnTo>
                      <a:cubicBezTo>
                        <a:pt x="125995" y="524709"/>
                        <a:pt x="134292" y="540514"/>
                        <a:pt x="146891" y="552022"/>
                      </a:cubicBezTo>
                      <a:cubicBezTo>
                        <a:pt x="159952" y="563990"/>
                        <a:pt x="176546" y="570588"/>
                        <a:pt x="193602" y="570588"/>
                      </a:cubicBezTo>
                      <a:lnTo>
                        <a:pt x="247072" y="570588"/>
                      </a:lnTo>
                      <a:cubicBezTo>
                        <a:pt x="264128" y="570588"/>
                        <a:pt x="280722" y="564144"/>
                        <a:pt x="293783" y="552175"/>
                      </a:cubicBezTo>
                      <a:cubicBezTo>
                        <a:pt x="306382" y="540514"/>
                        <a:pt x="314526" y="524862"/>
                        <a:pt x="316830" y="507984"/>
                      </a:cubicBezTo>
                      <a:close/>
                      <a:moveTo>
                        <a:pt x="178235" y="145929"/>
                      </a:moveTo>
                      <a:lnTo>
                        <a:pt x="179618" y="145929"/>
                      </a:lnTo>
                      <a:cubicBezTo>
                        <a:pt x="191912" y="151912"/>
                        <a:pt x="205742" y="155440"/>
                        <a:pt x="220341" y="155440"/>
                      </a:cubicBezTo>
                      <a:cubicBezTo>
                        <a:pt x="234939" y="155440"/>
                        <a:pt x="248769" y="151912"/>
                        <a:pt x="261063" y="145929"/>
                      </a:cubicBezTo>
                      <a:lnTo>
                        <a:pt x="262446" y="145929"/>
                      </a:lnTo>
                      <a:cubicBezTo>
                        <a:pt x="299788" y="145929"/>
                        <a:pt x="335286" y="178143"/>
                        <a:pt x="341279" y="217875"/>
                      </a:cubicBezTo>
                      <a:lnTo>
                        <a:pt x="356492" y="323875"/>
                      </a:lnTo>
                      <a:cubicBezTo>
                        <a:pt x="357414" y="330472"/>
                        <a:pt x="354341" y="336915"/>
                        <a:pt x="348809" y="340289"/>
                      </a:cubicBezTo>
                      <a:lnTo>
                        <a:pt x="308086" y="365447"/>
                      </a:lnTo>
                      <a:lnTo>
                        <a:pt x="288416" y="504123"/>
                      </a:lnTo>
                      <a:cubicBezTo>
                        <a:pt x="285650" y="525292"/>
                        <a:pt x="267517" y="542013"/>
                        <a:pt x="247079" y="542013"/>
                      </a:cubicBezTo>
                      <a:lnTo>
                        <a:pt x="193602" y="542013"/>
                      </a:lnTo>
                      <a:cubicBezTo>
                        <a:pt x="173164" y="542013"/>
                        <a:pt x="155031" y="525292"/>
                        <a:pt x="152265" y="503969"/>
                      </a:cubicBezTo>
                      <a:lnTo>
                        <a:pt x="132441" y="365447"/>
                      </a:lnTo>
                      <a:lnTo>
                        <a:pt x="91873" y="340289"/>
                      </a:lnTo>
                      <a:cubicBezTo>
                        <a:pt x="86340" y="336915"/>
                        <a:pt x="83267" y="330472"/>
                        <a:pt x="84189" y="323875"/>
                      </a:cubicBezTo>
                      <a:lnTo>
                        <a:pt x="99249" y="218028"/>
                      </a:lnTo>
                      <a:cubicBezTo>
                        <a:pt x="105395" y="178143"/>
                        <a:pt x="140740" y="145929"/>
                        <a:pt x="178235" y="145929"/>
                      </a:cubicBezTo>
                      <a:close/>
                      <a:moveTo>
                        <a:pt x="220270" y="0"/>
                      </a:moveTo>
                      <a:cubicBezTo>
                        <a:pt x="255092" y="0"/>
                        <a:pt x="283320" y="28371"/>
                        <a:pt x="283320" y="63368"/>
                      </a:cubicBezTo>
                      <a:cubicBezTo>
                        <a:pt x="283320" y="98365"/>
                        <a:pt x="255092" y="126736"/>
                        <a:pt x="220270" y="126736"/>
                      </a:cubicBezTo>
                      <a:cubicBezTo>
                        <a:pt x="185448" y="126736"/>
                        <a:pt x="157220" y="98365"/>
                        <a:pt x="157220" y="63368"/>
                      </a:cubicBezTo>
                      <a:cubicBezTo>
                        <a:pt x="157220" y="28371"/>
                        <a:pt x="185448" y="0"/>
                        <a:pt x="220270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3175" cap="rnd">
                  <a:noFill/>
                  <a:prstDash val="solid"/>
                  <a:round/>
                  <a:headEnd/>
                  <a:tailE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 defTabSz="914354"/>
                  <a:endParaRPr lang="zh-CN" altLang="en-US" sz="2000" b="1" i="1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14" name="îşliḓè"/>
              <p:cNvGrpSpPr/>
              <p:nvPr/>
            </p:nvGrpSpPr>
            <p:grpSpPr>
              <a:xfrm>
                <a:off x="8271556" y="4190458"/>
                <a:ext cx="3247345" cy="1359320"/>
                <a:chOff x="8092010" y="4262882"/>
                <a:chExt cx="3078549" cy="1359320"/>
              </a:xfrm>
            </p:grpSpPr>
            <p:sp>
              <p:nvSpPr>
                <p:cNvPr id="21" name="iSľiḋé">
                  <a:extLst>
                    <a:ext uri="{FF2B5EF4-FFF2-40B4-BE49-F238E27FC236}">
                      <a16:creationId xmlns:a16="http://schemas.microsoft.com/office/drawing/2014/main" id="{0E2BA31D-0B1A-4FEF-BEF0-FFE0B5FBC12B}"/>
                    </a:ext>
                  </a:extLst>
                </p:cNvPr>
                <p:cNvSpPr/>
                <p:nvPr/>
              </p:nvSpPr>
              <p:spPr bwMode="auto">
                <a:xfrm>
                  <a:off x="8092010" y="4704687"/>
                  <a:ext cx="3078548" cy="91751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>
                    <a:lnSpc>
                      <a:spcPct val="150000"/>
                    </a:lnSpc>
                  </a:pPr>
                  <a:r>
                    <a:rPr lang="zh-CN" altLang="en-US" sz="1100" dirty="0"/>
                    <a:t>使用随机数生成器拼合取件码。</a:t>
                  </a:r>
                  <a:endParaRPr lang="en-US" altLang="zh-CN" sz="1100" dirty="0"/>
                </a:p>
              </p:txBody>
            </p:sp>
            <p:sp>
              <p:nvSpPr>
                <p:cNvPr id="22" name="ïṧļîḍè">
                  <a:extLst>
                    <a:ext uri="{FF2B5EF4-FFF2-40B4-BE49-F238E27FC236}">
                      <a16:creationId xmlns:a16="http://schemas.microsoft.com/office/drawing/2014/main" id="{604430CD-0ED0-4017-BECF-D179074045B8}"/>
                    </a:ext>
                  </a:extLst>
                </p:cNvPr>
                <p:cNvSpPr txBox="1"/>
                <p:nvPr/>
              </p:nvSpPr>
              <p:spPr bwMode="auto">
                <a:xfrm>
                  <a:off x="8092011" y="4262882"/>
                  <a:ext cx="3078548" cy="44180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>
                    <a:spcBef>
                      <a:spcPct val="0"/>
                    </a:spcBef>
                  </a:pPr>
                  <a:r>
                    <a:rPr lang="zh-CN" altLang="en-US" b="1" dirty="0"/>
                    <a:t>生成取件码</a:t>
                  </a:r>
                </a:p>
              </p:txBody>
            </p:sp>
          </p:grpSp>
          <p:grpSp>
            <p:nvGrpSpPr>
              <p:cNvPr id="15" name="ïŝľîḓe"/>
              <p:cNvGrpSpPr/>
              <p:nvPr/>
            </p:nvGrpSpPr>
            <p:grpSpPr>
              <a:xfrm>
                <a:off x="660400" y="4190458"/>
                <a:ext cx="3247344" cy="1359320"/>
                <a:chOff x="8092010" y="4262882"/>
                <a:chExt cx="3078548" cy="1359320"/>
              </a:xfrm>
            </p:grpSpPr>
            <p:sp>
              <p:nvSpPr>
                <p:cNvPr id="19" name="iṡlîḓê">
                  <a:extLst>
                    <a:ext uri="{FF2B5EF4-FFF2-40B4-BE49-F238E27FC236}">
                      <a16:creationId xmlns:a16="http://schemas.microsoft.com/office/drawing/2014/main" id="{0E2BA31D-0B1A-4FEF-BEF0-FFE0B5FBC12B}"/>
                    </a:ext>
                  </a:extLst>
                </p:cNvPr>
                <p:cNvSpPr/>
                <p:nvPr/>
              </p:nvSpPr>
              <p:spPr bwMode="auto">
                <a:xfrm>
                  <a:off x="8092010" y="4704687"/>
                  <a:ext cx="3078548" cy="91751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r">
                    <a:lnSpc>
                      <a:spcPct val="150000"/>
                    </a:lnSpc>
                  </a:pPr>
                  <a:r>
                    <a:rPr lang="zh-CN" altLang="en-US" sz="1100" dirty="0"/>
                    <a:t>根据信息生成一个独一无二的特征码。</a:t>
                  </a:r>
                  <a:endParaRPr lang="en-US" altLang="zh-CN" sz="1100" dirty="0"/>
                </a:p>
              </p:txBody>
            </p:sp>
            <p:sp>
              <p:nvSpPr>
                <p:cNvPr id="20" name="îṡlïde">
                  <a:extLst>
                    <a:ext uri="{FF2B5EF4-FFF2-40B4-BE49-F238E27FC236}">
                      <a16:creationId xmlns:a16="http://schemas.microsoft.com/office/drawing/2014/main" id="{604430CD-0ED0-4017-BECF-D179074045B8}"/>
                    </a:ext>
                  </a:extLst>
                </p:cNvPr>
                <p:cNvSpPr txBox="1"/>
                <p:nvPr/>
              </p:nvSpPr>
              <p:spPr bwMode="auto">
                <a:xfrm>
                  <a:off x="8092010" y="4262882"/>
                  <a:ext cx="3078548" cy="44180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r">
                    <a:spcBef>
                      <a:spcPct val="0"/>
                    </a:spcBef>
                  </a:pPr>
                  <a:r>
                    <a:rPr lang="zh-CN" altLang="en-US" b="1" dirty="0"/>
                    <a:t>录入新快递</a:t>
                  </a:r>
                </a:p>
              </p:txBody>
            </p:sp>
          </p:grpSp>
          <p:grpSp>
            <p:nvGrpSpPr>
              <p:cNvPr id="16" name="ïŝḻiďê"/>
              <p:cNvGrpSpPr/>
              <p:nvPr/>
            </p:nvGrpSpPr>
            <p:grpSpPr>
              <a:xfrm>
                <a:off x="6700150" y="2060034"/>
                <a:ext cx="3247344" cy="1359320"/>
                <a:chOff x="8092010" y="4262882"/>
                <a:chExt cx="3078548" cy="1359320"/>
              </a:xfrm>
            </p:grpSpPr>
            <p:sp>
              <p:nvSpPr>
                <p:cNvPr id="17" name="íśľïḑè">
                  <a:extLst>
                    <a:ext uri="{FF2B5EF4-FFF2-40B4-BE49-F238E27FC236}">
                      <a16:creationId xmlns:a16="http://schemas.microsoft.com/office/drawing/2014/main" id="{0E2BA31D-0B1A-4FEF-BEF0-FFE0B5FBC12B}"/>
                    </a:ext>
                  </a:extLst>
                </p:cNvPr>
                <p:cNvSpPr/>
                <p:nvPr/>
              </p:nvSpPr>
              <p:spPr bwMode="auto">
                <a:xfrm>
                  <a:off x="8092010" y="4704687"/>
                  <a:ext cx="3078548" cy="91751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>
                    <a:lnSpc>
                      <a:spcPct val="150000"/>
                    </a:lnSpc>
                  </a:pPr>
                  <a:r>
                    <a:rPr lang="zh-CN" altLang="en-US" sz="1100" dirty="0"/>
                    <a:t>使用</a:t>
                  </a:r>
                  <a:r>
                    <a:rPr lang="en-US" altLang="zh-CN" sz="1100" dirty="0"/>
                    <a:t>PHP</a:t>
                  </a:r>
                  <a:r>
                    <a:rPr lang="zh-CN" altLang="en-US" sz="1100" dirty="0"/>
                    <a:t>的</a:t>
                  </a:r>
                  <a:r>
                    <a:rPr lang="en-US" altLang="zh-CN" sz="1100" dirty="0"/>
                    <a:t>mysqli</a:t>
                  </a:r>
                  <a:r>
                    <a:rPr lang="zh-CN" altLang="en-US" sz="1100" dirty="0"/>
                    <a:t>连接器接入数据库并交互数据。</a:t>
                  </a:r>
                  <a:endParaRPr lang="en-US" altLang="zh-CN" sz="1100" dirty="0"/>
                </a:p>
              </p:txBody>
            </p:sp>
            <p:sp>
              <p:nvSpPr>
                <p:cNvPr id="18" name="ïṥḷidê">
                  <a:extLst>
                    <a:ext uri="{FF2B5EF4-FFF2-40B4-BE49-F238E27FC236}">
                      <a16:creationId xmlns:a16="http://schemas.microsoft.com/office/drawing/2014/main" id="{604430CD-0ED0-4017-BECF-D179074045B8}"/>
                    </a:ext>
                  </a:extLst>
                </p:cNvPr>
                <p:cNvSpPr txBox="1"/>
                <p:nvPr/>
              </p:nvSpPr>
              <p:spPr bwMode="auto">
                <a:xfrm>
                  <a:off x="8092010" y="4262882"/>
                  <a:ext cx="3078548" cy="44180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>
                    <a:spcBef>
                      <a:spcPct val="0"/>
                    </a:spcBef>
                  </a:pPr>
                  <a:r>
                    <a:rPr lang="zh-CN" altLang="en-US" b="1" dirty="0"/>
                    <a:t>存储数据库</a:t>
                  </a:r>
                </a:p>
              </p:txBody>
            </p:sp>
          </p:grpSp>
        </p:grpSp>
        <p:grpSp>
          <p:nvGrpSpPr>
            <p:cNvPr id="7" name="îṧḷîḓe"/>
            <p:cNvGrpSpPr/>
            <p:nvPr/>
          </p:nvGrpSpPr>
          <p:grpSpPr>
            <a:xfrm>
              <a:off x="660401" y="1130300"/>
              <a:ext cx="3504194" cy="1894333"/>
              <a:chOff x="660400" y="1130300"/>
              <a:chExt cx="3633725" cy="1894333"/>
            </a:xfrm>
          </p:grpSpPr>
          <p:sp>
            <p:nvSpPr>
              <p:cNvPr id="8" name="ïṣlïďé">
                <a:extLst>
                  <a:ext uri="{FF2B5EF4-FFF2-40B4-BE49-F238E27FC236}">
                    <a16:creationId xmlns:a16="http://schemas.microsoft.com/office/drawing/2014/main" id="{8828E697-F619-43BC-97A4-971768523972}"/>
                  </a:ext>
                </a:extLst>
              </p:cNvPr>
              <p:cNvSpPr txBox="1"/>
              <p:nvPr/>
            </p:nvSpPr>
            <p:spPr>
              <a:xfrm>
                <a:off x="660402" y="1130300"/>
                <a:ext cx="3633723" cy="85216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b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buSzPct val="25000"/>
                </a:pPr>
                <a:endParaRPr lang="en-US" sz="2000" b="1" dirty="0"/>
              </a:p>
            </p:txBody>
          </p:sp>
          <p:sp>
            <p:nvSpPr>
              <p:cNvPr id="9" name="ïṩļíde">
                <a:extLst>
                  <a:ext uri="{FF2B5EF4-FFF2-40B4-BE49-F238E27FC236}">
                    <a16:creationId xmlns:a16="http://schemas.microsoft.com/office/drawing/2014/main" id="{67C48D8B-8C8A-414D-9709-419A4C836390}"/>
                  </a:ext>
                </a:extLst>
              </p:cNvPr>
              <p:cNvSpPr txBox="1"/>
              <p:nvPr/>
            </p:nvSpPr>
            <p:spPr>
              <a:xfrm>
                <a:off x="660400" y="1982461"/>
                <a:ext cx="3633723" cy="104217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50000"/>
                  </a:lnSpc>
                  <a:buSzPct val="25000"/>
                </a:pPr>
                <a:endParaRPr lang="en-US" sz="1200" dirty="0"/>
              </a:p>
            </p:txBody>
          </p:sp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85592493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论文综述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endParaRPr lang="zh-CN" altLang="en-US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3044772" y="2667679"/>
            <a:ext cx="1861056" cy="1618118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16200000" scaled="0"/>
                </a:gradFill>
                <a:latin typeface="Impact" panose="020B0806030902050204" pitchFamily="34" charset="0"/>
                <a:cs typeface="Arial" panose="020B0604020202020204" pitchFamily="34" charset="0"/>
              </a:rPr>
              <a:t>/02</a:t>
            </a:r>
            <a:endParaRPr lang="zh-CN" altLang="en-US" spc="100" dirty="0">
              <a:gradFill>
                <a:gsLst>
                  <a:gs pos="0">
                    <a:schemeClr val="accent1"/>
                  </a:gs>
                  <a:gs pos="100000">
                    <a:schemeClr val="accent2"/>
                  </a:gs>
                </a:gsLst>
                <a:lin ang="16200000" scaled="0"/>
              </a:gra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0400353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程序流程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7</a:t>
            </a:fld>
            <a:endParaRPr lang="zh-CN" altLang="en-US"/>
          </a:p>
        </p:txBody>
      </p:sp>
      <p:grpSp>
        <p:nvGrpSpPr>
          <p:cNvPr id="5" name="#282146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/>
        </p:nvGrpSpPr>
        <p:grpSpPr>
          <a:xfrm>
            <a:off x="870216" y="2439481"/>
            <a:ext cx="10451568" cy="3442303"/>
            <a:chOff x="870216" y="2439481"/>
            <a:chExt cx="10451568" cy="3442303"/>
          </a:xfrm>
        </p:grpSpPr>
        <p:grpSp>
          <p:nvGrpSpPr>
            <p:cNvPr id="7" name="íṣļîḍê">
              <a:extLst>
                <a:ext uri="{FF2B5EF4-FFF2-40B4-BE49-F238E27FC236}">
                  <a16:creationId xmlns:a16="http://schemas.microsoft.com/office/drawing/2014/main" id="{02855033-B93A-4987-BFED-CE18713E5F2B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 rot="20700000">
              <a:off x="1999400" y="2724999"/>
              <a:ext cx="2417281" cy="655591"/>
              <a:chOff x="638" y="1651"/>
              <a:chExt cx="2098" cy="569"/>
            </a:xfrm>
          </p:grpSpPr>
          <p:sp>
            <p:nvSpPr>
              <p:cNvPr id="53" name="í$ḻidè">
                <a:extLst>
                  <a:ext uri="{FF2B5EF4-FFF2-40B4-BE49-F238E27FC236}">
                    <a16:creationId xmlns:a16="http://schemas.microsoft.com/office/drawing/2014/main" id="{C5BDD8AE-DEE0-4C0B-B9EF-885E0005631A}"/>
                  </a:ext>
                </a:extLst>
              </p:cNvPr>
              <p:cNvSpPr/>
              <p:nvPr/>
            </p:nvSpPr>
            <p:spPr bwMode="auto">
              <a:xfrm>
                <a:off x="638" y="1651"/>
                <a:ext cx="2098" cy="56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4" name="i$lïḑé">
                <a:extLst>
                  <a:ext uri="{FF2B5EF4-FFF2-40B4-BE49-F238E27FC236}">
                    <a16:creationId xmlns:a16="http://schemas.microsoft.com/office/drawing/2014/main" id="{0B69657A-E35D-45FA-AA67-08EE5E21F97A}"/>
                  </a:ext>
                </a:extLst>
              </p:cNvPr>
              <p:cNvSpPr/>
              <p:nvPr/>
            </p:nvSpPr>
            <p:spPr bwMode="auto">
              <a:xfrm>
                <a:off x="640" y="1651"/>
                <a:ext cx="2094" cy="569"/>
              </a:xfrm>
              <a:custGeom>
                <a:avLst/>
                <a:gdLst>
                  <a:gd name="T0" fmla="*/ 765 w 886"/>
                  <a:gd name="T1" fmla="*/ 0 h 241"/>
                  <a:gd name="T2" fmla="*/ 699 w 886"/>
                  <a:gd name="T3" fmla="*/ 19 h 241"/>
                  <a:gd name="T4" fmla="*/ 697 w 886"/>
                  <a:gd name="T5" fmla="*/ 21 h 241"/>
                  <a:gd name="T6" fmla="*/ 443 w 886"/>
                  <a:gd name="T7" fmla="*/ 94 h 241"/>
                  <a:gd name="T8" fmla="*/ 189 w 886"/>
                  <a:gd name="T9" fmla="*/ 21 h 241"/>
                  <a:gd name="T10" fmla="*/ 187 w 886"/>
                  <a:gd name="T11" fmla="*/ 20 h 241"/>
                  <a:gd name="T12" fmla="*/ 121 w 886"/>
                  <a:gd name="T13" fmla="*/ 0 h 241"/>
                  <a:gd name="T14" fmla="*/ 0 w 886"/>
                  <a:gd name="T15" fmla="*/ 120 h 241"/>
                  <a:gd name="T16" fmla="*/ 0 w 886"/>
                  <a:gd name="T17" fmla="*/ 120 h 241"/>
                  <a:gd name="T18" fmla="*/ 121 w 886"/>
                  <a:gd name="T19" fmla="*/ 241 h 241"/>
                  <a:gd name="T20" fmla="*/ 187 w 886"/>
                  <a:gd name="T21" fmla="*/ 221 h 241"/>
                  <a:gd name="T22" fmla="*/ 189 w 886"/>
                  <a:gd name="T23" fmla="*/ 220 h 241"/>
                  <a:gd name="T24" fmla="*/ 443 w 886"/>
                  <a:gd name="T25" fmla="*/ 146 h 241"/>
                  <a:gd name="T26" fmla="*/ 697 w 886"/>
                  <a:gd name="T27" fmla="*/ 220 h 241"/>
                  <a:gd name="T28" fmla="*/ 699 w 886"/>
                  <a:gd name="T29" fmla="*/ 221 h 241"/>
                  <a:gd name="T30" fmla="*/ 765 w 886"/>
                  <a:gd name="T31" fmla="*/ 241 h 241"/>
                  <a:gd name="T32" fmla="*/ 886 w 886"/>
                  <a:gd name="T33" fmla="*/ 120 h 241"/>
                  <a:gd name="T34" fmla="*/ 765 w 886"/>
                  <a:gd name="T35" fmla="*/ 0 h 2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886" h="241">
                    <a:moveTo>
                      <a:pt x="765" y="0"/>
                    </a:moveTo>
                    <a:cubicBezTo>
                      <a:pt x="741" y="0"/>
                      <a:pt x="718" y="7"/>
                      <a:pt x="699" y="19"/>
                    </a:cubicBezTo>
                    <a:cubicBezTo>
                      <a:pt x="699" y="20"/>
                      <a:pt x="698" y="20"/>
                      <a:pt x="697" y="21"/>
                    </a:cubicBezTo>
                    <a:cubicBezTo>
                      <a:pt x="624" y="67"/>
                      <a:pt x="537" y="94"/>
                      <a:pt x="443" y="94"/>
                    </a:cubicBezTo>
                    <a:cubicBezTo>
                      <a:pt x="349" y="94"/>
                      <a:pt x="262" y="67"/>
                      <a:pt x="189" y="21"/>
                    </a:cubicBezTo>
                    <a:cubicBezTo>
                      <a:pt x="188" y="20"/>
                      <a:pt x="188" y="20"/>
                      <a:pt x="187" y="20"/>
                    </a:cubicBezTo>
                    <a:cubicBezTo>
                      <a:pt x="168" y="7"/>
                      <a:pt x="145" y="0"/>
                      <a:pt x="121" y="0"/>
                    </a:cubicBezTo>
                    <a:cubicBezTo>
                      <a:pt x="54" y="0"/>
                      <a:pt x="0" y="54"/>
                      <a:pt x="0" y="120"/>
                    </a:cubicBezTo>
                    <a:cubicBezTo>
                      <a:pt x="0" y="120"/>
                      <a:pt x="0" y="120"/>
                      <a:pt x="0" y="120"/>
                    </a:cubicBezTo>
                    <a:cubicBezTo>
                      <a:pt x="0" y="187"/>
                      <a:pt x="54" y="241"/>
                      <a:pt x="121" y="241"/>
                    </a:cubicBezTo>
                    <a:cubicBezTo>
                      <a:pt x="145" y="241"/>
                      <a:pt x="168" y="233"/>
                      <a:pt x="187" y="221"/>
                    </a:cubicBezTo>
                    <a:cubicBezTo>
                      <a:pt x="187" y="220"/>
                      <a:pt x="188" y="220"/>
                      <a:pt x="189" y="220"/>
                    </a:cubicBezTo>
                    <a:cubicBezTo>
                      <a:pt x="262" y="173"/>
                      <a:pt x="349" y="146"/>
                      <a:pt x="443" y="146"/>
                    </a:cubicBezTo>
                    <a:cubicBezTo>
                      <a:pt x="537" y="146"/>
                      <a:pt x="624" y="173"/>
                      <a:pt x="697" y="220"/>
                    </a:cubicBezTo>
                    <a:cubicBezTo>
                      <a:pt x="698" y="220"/>
                      <a:pt x="698" y="220"/>
                      <a:pt x="699" y="221"/>
                    </a:cubicBezTo>
                    <a:cubicBezTo>
                      <a:pt x="718" y="233"/>
                      <a:pt x="741" y="241"/>
                      <a:pt x="765" y="241"/>
                    </a:cubicBezTo>
                    <a:cubicBezTo>
                      <a:pt x="832" y="241"/>
                      <a:pt x="886" y="187"/>
                      <a:pt x="886" y="120"/>
                    </a:cubicBezTo>
                    <a:cubicBezTo>
                      <a:pt x="886" y="54"/>
                      <a:pt x="832" y="0"/>
                      <a:pt x="765" y="0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5" name="iṣlide">
                <a:extLst>
                  <a:ext uri="{FF2B5EF4-FFF2-40B4-BE49-F238E27FC236}">
                    <a16:creationId xmlns:a16="http://schemas.microsoft.com/office/drawing/2014/main" id="{3C93F842-4F57-4CDB-827F-6E344BB58EDE}"/>
                  </a:ext>
                </a:extLst>
              </p:cNvPr>
              <p:cNvSpPr/>
              <p:nvPr/>
            </p:nvSpPr>
            <p:spPr bwMode="auto">
              <a:xfrm>
                <a:off x="676" y="1687"/>
                <a:ext cx="498" cy="49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6" name="ïṣ1îḓe">
                <a:extLst>
                  <a:ext uri="{FF2B5EF4-FFF2-40B4-BE49-F238E27FC236}">
                    <a16:creationId xmlns:a16="http://schemas.microsoft.com/office/drawing/2014/main" id="{3FE95124-A1E4-4C0B-9476-0A7B8F5EB463}"/>
                  </a:ext>
                </a:extLst>
              </p:cNvPr>
              <p:cNvSpPr/>
              <p:nvPr/>
            </p:nvSpPr>
            <p:spPr bwMode="auto">
              <a:xfrm>
                <a:off x="2200" y="1687"/>
                <a:ext cx="498" cy="49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grpSp>
          <p:nvGrpSpPr>
            <p:cNvPr id="8" name="i$ḷïḑè">
              <a:extLst>
                <a:ext uri="{FF2B5EF4-FFF2-40B4-BE49-F238E27FC236}">
                  <a16:creationId xmlns:a16="http://schemas.microsoft.com/office/drawing/2014/main" id="{4FE39275-B700-4BB0-8D97-DB8421219369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 rot="1800000">
              <a:off x="3609524" y="2937576"/>
              <a:ext cx="2417281" cy="655591"/>
              <a:chOff x="638" y="1651"/>
              <a:chExt cx="2098" cy="569"/>
            </a:xfrm>
          </p:grpSpPr>
          <p:sp>
            <p:nvSpPr>
              <p:cNvPr id="49" name="îs1iḋè">
                <a:extLst>
                  <a:ext uri="{FF2B5EF4-FFF2-40B4-BE49-F238E27FC236}">
                    <a16:creationId xmlns:a16="http://schemas.microsoft.com/office/drawing/2014/main" id="{849AEC48-D445-4C3D-AF9F-C854E99D5C22}"/>
                  </a:ext>
                </a:extLst>
              </p:cNvPr>
              <p:cNvSpPr/>
              <p:nvPr/>
            </p:nvSpPr>
            <p:spPr bwMode="auto">
              <a:xfrm>
                <a:off x="638" y="1651"/>
                <a:ext cx="2098" cy="56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0" name="îṧlïďê">
                <a:extLst>
                  <a:ext uri="{FF2B5EF4-FFF2-40B4-BE49-F238E27FC236}">
                    <a16:creationId xmlns:a16="http://schemas.microsoft.com/office/drawing/2014/main" id="{895F9200-0A05-43B8-A5A3-4BD668C3AB78}"/>
                  </a:ext>
                </a:extLst>
              </p:cNvPr>
              <p:cNvSpPr/>
              <p:nvPr/>
            </p:nvSpPr>
            <p:spPr bwMode="auto">
              <a:xfrm>
                <a:off x="640" y="1651"/>
                <a:ext cx="2094" cy="569"/>
              </a:xfrm>
              <a:custGeom>
                <a:avLst/>
                <a:gdLst>
                  <a:gd name="T0" fmla="*/ 765 w 886"/>
                  <a:gd name="T1" fmla="*/ 0 h 241"/>
                  <a:gd name="T2" fmla="*/ 699 w 886"/>
                  <a:gd name="T3" fmla="*/ 19 h 241"/>
                  <a:gd name="T4" fmla="*/ 697 w 886"/>
                  <a:gd name="T5" fmla="*/ 21 h 241"/>
                  <a:gd name="T6" fmla="*/ 443 w 886"/>
                  <a:gd name="T7" fmla="*/ 94 h 241"/>
                  <a:gd name="T8" fmla="*/ 189 w 886"/>
                  <a:gd name="T9" fmla="*/ 21 h 241"/>
                  <a:gd name="T10" fmla="*/ 187 w 886"/>
                  <a:gd name="T11" fmla="*/ 20 h 241"/>
                  <a:gd name="T12" fmla="*/ 121 w 886"/>
                  <a:gd name="T13" fmla="*/ 0 h 241"/>
                  <a:gd name="T14" fmla="*/ 0 w 886"/>
                  <a:gd name="T15" fmla="*/ 120 h 241"/>
                  <a:gd name="T16" fmla="*/ 0 w 886"/>
                  <a:gd name="T17" fmla="*/ 120 h 241"/>
                  <a:gd name="T18" fmla="*/ 121 w 886"/>
                  <a:gd name="T19" fmla="*/ 241 h 241"/>
                  <a:gd name="T20" fmla="*/ 187 w 886"/>
                  <a:gd name="T21" fmla="*/ 221 h 241"/>
                  <a:gd name="T22" fmla="*/ 189 w 886"/>
                  <a:gd name="T23" fmla="*/ 220 h 241"/>
                  <a:gd name="T24" fmla="*/ 443 w 886"/>
                  <a:gd name="T25" fmla="*/ 146 h 241"/>
                  <a:gd name="T26" fmla="*/ 697 w 886"/>
                  <a:gd name="T27" fmla="*/ 220 h 241"/>
                  <a:gd name="T28" fmla="*/ 699 w 886"/>
                  <a:gd name="T29" fmla="*/ 221 h 241"/>
                  <a:gd name="T30" fmla="*/ 765 w 886"/>
                  <a:gd name="T31" fmla="*/ 241 h 241"/>
                  <a:gd name="T32" fmla="*/ 886 w 886"/>
                  <a:gd name="T33" fmla="*/ 120 h 241"/>
                  <a:gd name="T34" fmla="*/ 765 w 886"/>
                  <a:gd name="T35" fmla="*/ 0 h 2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886" h="241">
                    <a:moveTo>
                      <a:pt x="765" y="0"/>
                    </a:moveTo>
                    <a:cubicBezTo>
                      <a:pt x="741" y="0"/>
                      <a:pt x="718" y="7"/>
                      <a:pt x="699" y="19"/>
                    </a:cubicBezTo>
                    <a:cubicBezTo>
                      <a:pt x="699" y="20"/>
                      <a:pt x="698" y="20"/>
                      <a:pt x="697" y="21"/>
                    </a:cubicBezTo>
                    <a:cubicBezTo>
                      <a:pt x="624" y="67"/>
                      <a:pt x="537" y="94"/>
                      <a:pt x="443" y="94"/>
                    </a:cubicBezTo>
                    <a:cubicBezTo>
                      <a:pt x="349" y="94"/>
                      <a:pt x="262" y="67"/>
                      <a:pt x="189" y="21"/>
                    </a:cubicBezTo>
                    <a:cubicBezTo>
                      <a:pt x="188" y="20"/>
                      <a:pt x="188" y="20"/>
                      <a:pt x="187" y="20"/>
                    </a:cubicBezTo>
                    <a:cubicBezTo>
                      <a:pt x="168" y="7"/>
                      <a:pt x="145" y="0"/>
                      <a:pt x="121" y="0"/>
                    </a:cubicBezTo>
                    <a:cubicBezTo>
                      <a:pt x="54" y="0"/>
                      <a:pt x="0" y="54"/>
                      <a:pt x="0" y="120"/>
                    </a:cubicBezTo>
                    <a:cubicBezTo>
                      <a:pt x="0" y="120"/>
                      <a:pt x="0" y="120"/>
                      <a:pt x="0" y="120"/>
                    </a:cubicBezTo>
                    <a:cubicBezTo>
                      <a:pt x="0" y="187"/>
                      <a:pt x="54" y="241"/>
                      <a:pt x="121" y="241"/>
                    </a:cubicBezTo>
                    <a:cubicBezTo>
                      <a:pt x="145" y="241"/>
                      <a:pt x="168" y="233"/>
                      <a:pt x="187" y="221"/>
                    </a:cubicBezTo>
                    <a:cubicBezTo>
                      <a:pt x="187" y="220"/>
                      <a:pt x="188" y="220"/>
                      <a:pt x="189" y="220"/>
                    </a:cubicBezTo>
                    <a:cubicBezTo>
                      <a:pt x="262" y="173"/>
                      <a:pt x="349" y="146"/>
                      <a:pt x="443" y="146"/>
                    </a:cubicBezTo>
                    <a:cubicBezTo>
                      <a:pt x="537" y="146"/>
                      <a:pt x="624" y="173"/>
                      <a:pt x="697" y="220"/>
                    </a:cubicBezTo>
                    <a:cubicBezTo>
                      <a:pt x="698" y="220"/>
                      <a:pt x="698" y="220"/>
                      <a:pt x="699" y="221"/>
                    </a:cubicBezTo>
                    <a:cubicBezTo>
                      <a:pt x="718" y="233"/>
                      <a:pt x="741" y="241"/>
                      <a:pt x="765" y="241"/>
                    </a:cubicBezTo>
                    <a:cubicBezTo>
                      <a:pt x="832" y="241"/>
                      <a:pt x="886" y="187"/>
                      <a:pt x="886" y="120"/>
                    </a:cubicBezTo>
                    <a:cubicBezTo>
                      <a:pt x="886" y="54"/>
                      <a:pt x="832" y="0"/>
                      <a:pt x="765" y="0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1" name="ïšlîḑê">
                <a:extLst>
                  <a:ext uri="{FF2B5EF4-FFF2-40B4-BE49-F238E27FC236}">
                    <a16:creationId xmlns:a16="http://schemas.microsoft.com/office/drawing/2014/main" id="{2825AF84-BD70-40FB-9DB0-02ABCACC097C}"/>
                  </a:ext>
                </a:extLst>
              </p:cNvPr>
              <p:cNvSpPr/>
              <p:nvPr/>
            </p:nvSpPr>
            <p:spPr bwMode="auto">
              <a:xfrm>
                <a:off x="676" y="1687"/>
                <a:ext cx="498" cy="49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2" name="íSḷïḍé">
                <a:extLst>
                  <a:ext uri="{FF2B5EF4-FFF2-40B4-BE49-F238E27FC236}">
                    <a16:creationId xmlns:a16="http://schemas.microsoft.com/office/drawing/2014/main" id="{0140E990-CC05-4B98-9AA1-9188C7E87FE6}"/>
                  </a:ext>
                </a:extLst>
              </p:cNvPr>
              <p:cNvSpPr/>
              <p:nvPr/>
            </p:nvSpPr>
            <p:spPr bwMode="auto">
              <a:xfrm>
                <a:off x="2200" y="1687"/>
                <a:ext cx="498" cy="49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grpSp>
          <p:nvGrpSpPr>
            <p:cNvPr id="9" name="îṧḻïḓè">
              <a:extLst>
                <a:ext uri="{FF2B5EF4-FFF2-40B4-BE49-F238E27FC236}">
                  <a16:creationId xmlns:a16="http://schemas.microsoft.com/office/drawing/2014/main" id="{E4A6FFE7-3357-4889-B4AA-A325561398C8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 rot="18900000">
              <a:off x="5069578" y="2927711"/>
              <a:ext cx="1918385" cy="661354"/>
              <a:chOff x="121" y="930"/>
              <a:chExt cx="1665" cy="574"/>
            </a:xfrm>
          </p:grpSpPr>
          <p:sp>
            <p:nvSpPr>
              <p:cNvPr id="45" name="îś1ïďê">
                <a:extLst>
                  <a:ext uri="{FF2B5EF4-FFF2-40B4-BE49-F238E27FC236}">
                    <a16:creationId xmlns:a16="http://schemas.microsoft.com/office/drawing/2014/main" id="{774AD436-4278-4601-B2D3-5835EFF1F280}"/>
                  </a:ext>
                </a:extLst>
              </p:cNvPr>
              <p:cNvSpPr/>
              <p:nvPr/>
            </p:nvSpPr>
            <p:spPr bwMode="auto">
              <a:xfrm>
                <a:off x="121" y="930"/>
                <a:ext cx="1665" cy="57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6" name="ïŝľïḑê">
                <a:extLst>
                  <a:ext uri="{FF2B5EF4-FFF2-40B4-BE49-F238E27FC236}">
                    <a16:creationId xmlns:a16="http://schemas.microsoft.com/office/drawing/2014/main" id="{EE3E63D9-6899-4C16-BFE8-1451E6228EE7}"/>
                  </a:ext>
                </a:extLst>
              </p:cNvPr>
              <p:cNvSpPr/>
              <p:nvPr/>
            </p:nvSpPr>
            <p:spPr bwMode="auto">
              <a:xfrm>
                <a:off x="121" y="932"/>
                <a:ext cx="1665" cy="570"/>
              </a:xfrm>
              <a:custGeom>
                <a:avLst/>
                <a:gdLst>
                  <a:gd name="T0" fmla="*/ 585 w 705"/>
                  <a:gd name="T1" fmla="*/ 0 h 241"/>
                  <a:gd name="T2" fmla="*/ 500 w 705"/>
                  <a:gd name="T3" fmla="*/ 35 h 241"/>
                  <a:gd name="T4" fmla="*/ 494 w 705"/>
                  <a:gd name="T5" fmla="*/ 41 h 241"/>
                  <a:gd name="T6" fmla="*/ 352 w 705"/>
                  <a:gd name="T7" fmla="*/ 101 h 241"/>
                  <a:gd name="T8" fmla="*/ 211 w 705"/>
                  <a:gd name="T9" fmla="*/ 41 h 241"/>
                  <a:gd name="T10" fmla="*/ 205 w 705"/>
                  <a:gd name="T11" fmla="*/ 35 h 241"/>
                  <a:gd name="T12" fmla="*/ 120 w 705"/>
                  <a:gd name="T13" fmla="*/ 0 h 241"/>
                  <a:gd name="T14" fmla="*/ 0 w 705"/>
                  <a:gd name="T15" fmla="*/ 120 h 241"/>
                  <a:gd name="T16" fmla="*/ 120 w 705"/>
                  <a:gd name="T17" fmla="*/ 241 h 241"/>
                  <a:gd name="T18" fmla="*/ 205 w 705"/>
                  <a:gd name="T19" fmla="*/ 206 h 241"/>
                  <a:gd name="T20" fmla="*/ 211 w 705"/>
                  <a:gd name="T21" fmla="*/ 199 h 241"/>
                  <a:gd name="T22" fmla="*/ 352 w 705"/>
                  <a:gd name="T23" fmla="*/ 140 h 241"/>
                  <a:gd name="T24" fmla="*/ 494 w 705"/>
                  <a:gd name="T25" fmla="*/ 199 h 241"/>
                  <a:gd name="T26" fmla="*/ 500 w 705"/>
                  <a:gd name="T27" fmla="*/ 206 h 241"/>
                  <a:gd name="T28" fmla="*/ 585 w 705"/>
                  <a:gd name="T29" fmla="*/ 241 h 241"/>
                  <a:gd name="T30" fmla="*/ 705 w 705"/>
                  <a:gd name="T31" fmla="*/ 120 h 241"/>
                  <a:gd name="T32" fmla="*/ 585 w 705"/>
                  <a:gd name="T33" fmla="*/ 0 h 2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705" h="241">
                    <a:moveTo>
                      <a:pt x="585" y="0"/>
                    </a:moveTo>
                    <a:cubicBezTo>
                      <a:pt x="552" y="0"/>
                      <a:pt x="522" y="13"/>
                      <a:pt x="500" y="35"/>
                    </a:cubicBezTo>
                    <a:cubicBezTo>
                      <a:pt x="498" y="37"/>
                      <a:pt x="496" y="39"/>
                      <a:pt x="494" y="41"/>
                    </a:cubicBezTo>
                    <a:cubicBezTo>
                      <a:pt x="458" y="78"/>
                      <a:pt x="408" y="101"/>
                      <a:pt x="352" y="101"/>
                    </a:cubicBezTo>
                    <a:cubicBezTo>
                      <a:pt x="297" y="101"/>
                      <a:pt x="247" y="78"/>
                      <a:pt x="211" y="41"/>
                    </a:cubicBezTo>
                    <a:cubicBezTo>
                      <a:pt x="209" y="39"/>
                      <a:pt x="207" y="37"/>
                      <a:pt x="205" y="35"/>
                    </a:cubicBezTo>
                    <a:cubicBezTo>
                      <a:pt x="183" y="13"/>
                      <a:pt x="153" y="0"/>
                      <a:pt x="120" y="0"/>
                    </a:cubicBezTo>
                    <a:cubicBezTo>
                      <a:pt x="53" y="0"/>
                      <a:pt x="0" y="54"/>
                      <a:pt x="0" y="120"/>
                    </a:cubicBezTo>
                    <a:cubicBezTo>
                      <a:pt x="0" y="187"/>
                      <a:pt x="53" y="241"/>
                      <a:pt x="120" y="241"/>
                    </a:cubicBezTo>
                    <a:cubicBezTo>
                      <a:pt x="153" y="241"/>
                      <a:pt x="183" y="227"/>
                      <a:pt x="205" y="206"/>
                    </a:cubicBezTo>
                    <a:cubicBezTo>
                      <a:pt x="207" y="204"/>
                      <a:pt x="209" y="201"/>
                      <a:pt x="211" y="199"/>
                    </a:cubicBezTo>
                    <a:cubicBezTo>
                      <a:pt x="247" y="163"/>
                      <a:pt x="297" y="140"/>
                      <a:pt x="352" y="140"/>
                    </a:cubicBezTo>
                    <a:cubicBezTo>
                      <a:pt x="408" y="140"/>
                      <a:pt x="458" y="163"/>
                      <a:pt x="494" y="199"/>
                    </a:cubicBezTo>
                    <a:cubicBezTo>
                      <a:pt x="496" y="201"/>
                      <a:pt x="498" y="204"/>
                      <a:pt x="500" y="206"/>
                    </a:cubicBezTo>
                    <a:cubicBezTo>
                      <a:pt x="522" y="227"/>
                      <a:pt x="552" y="241"/>
                      <a:pt x="585" y="241"/>
                    </a:cubicBezTo>
                    <a:cubicBezTo>
                      <a:pt x="651" y="241"/>
                      <a:pt x="705" y="187"/>
                      <a:pt x="705" y="120"/>
                    </a:cubicBezTo>
                    <a:cubicBezTo>
                      <a:pt x="705" y="54"/>
                      <a:pt x="651" y="0"/>
                      <a:pt x="585" y="0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7" name="íş1îḋé">
                <a:extLst>
                  <a:ext uri="{FF2B5EF4-FFF2-40B4-BE49-F238E27FC236}">
                    <a16:creationId xmlns:a16="http://schemas.microsoft.com/office/drawing/2014/main" id="{B059D035-5DBF-4496-8D82-D8DDA48278F3}"/>
                  </a:ext>
                </a:extLst>
              </p:cNvPr>
              <p:cNvSpPr/>
              <p:nvPr/>
            </p:nvSpPr>
            <p:spPr bwMode="auto">
              <a:xfrm>
                <a:off x="156" y="968"/>
                <a:ext cx="496" cy="49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8" name="íṡḷiḋe">
                <a:extLst>
                  <a:ext uri="{FF2B5EF4-FFF2-40B4-BE49-F238E27FC236}">
                    <a16:creationId xmlns:a16="http://schemas.microsoft.com/office/drawing/2014/main" id="{23B87043-EAC3-4A2A-A2DB-EA23DCE704F7}"/>
                  </a:ext>
                </a:extLst>
              </p:cNvPr>
              <p:cNvSpPr/>
              <p:nvPr/>
            </p:nvSpPr>
            <p:spPr bwMode="auto">
              <a:xfrm>
                <a:off x="1252" y="968"/>
                <a:ext cx="499" cy="49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grpSp>
          <p:nvGrpSpPr>
            <p:cNvPr id="10" name="íṧḷîḑe">
              <a:extLst>
                <a:ext uri="{FF2B5EF4-FFF2-40B4-BE49-F238E27FC236}">
                  <a16:creationId xmlns:a16="http://schemas.microsoft.com/office/drawing/2014/main" id="{686EDEE2-5E5E-4065-B0BC-185824AA315D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 rot="19800000">
              <a:off x="7119874" y="2674760"/>
              <a:ext cx="2417281" cy="655591"/>
              <a:chOff x="638" y="1651"/>
              <a:chExt cx="2098" cy="569"/>
            </a:xfrm>
          </p:grpSpPr>
          <p:sp>
            <p:nvSpPr>
              <p:cNvPr id="41" name="ïs1íḋê">
                <a:extLst>
                  <a:ext uri="{FF2B5EF4-FFF2-40B4-BE49-F238E27FC236}">
                    <a16:creationId xmlns:a16="http://schemas.microsoft.com/office/drawing/2014/main" id="{593BF499-52DB-4A26-98A2-5B193EE2C81E}"/>
                  </a:ext>
                </a:extLst>
              </p:cNvPr>
              <p:cNvSpPr/>
              <p:nvPr/>
            </p:nvSpPr>
            <p:spPr bwMode="auto">
              <a:xfrm>
                <a:off x="638" y="1651"/>
                <a:ext cx="2098" cy="56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2" name="íšḷîḍê">
                <a:extLst>
                  <a:ext uri="{FF2B5EF4-FFF2-40B4-BE49-F238E27FC236}">
                    <a16:creationId xmlns:a16="http://schemas.microsoft.com/office/drawing/2014/main" id="{8F4A8820-8D47-4334-81E5-D5B4260FFF99}"/>
                  </a:ext>
                </a:extLst>
              </p:cNvPr>
              <p:cNvSpPr/>
              <p:nvPr/>
            </p:nvSpPr>
            <p:spPr bwMode="auto">
              <a:xfrm>
                <a:off x="640" y="1651"/>
                <a:ext cx="2094" cy="569"/>
              </a:xfrm>
              <a:custGeom>
                <a:avLst/>
                <a:gdLst>
                  <a:gd name="T0" fmla="*/ 765 w 886"/>
                  <a:gd name="T1" fmla="*/ 0 h 241"/>
                  <a:gd name="T2" fmla="*/ 699 w 886"/>
                  <a:gd name="T3" fmla="*/ 19 h 241"/>
                  <a:gd name="T4" fmla="*/ 697 w 886"/>
                  <a:gd name="T5" fmla="*/ 21 h 241"/>
                  <a:gd name="T6" fmla="*/ 443 w 886"/>
                  <a:gd name="T7" fmla="*/ 94 h 241"/>
                  <a:gd name="T8" fmla="*/ 189 w 886"/>
                  <a:gd name="T9" fmla="*/ 21 h 241"/>
                  <a:gd name="T10" fmla="*/ 187 w 886"/>
                  <a:gd name="T11" fmla="*/ 20 h 241"/>
                  <a:gd name="T12" fmla="*/ 121 w 886"/>
                  <a:gd name="T13" fmla="*/ 0 h 241"/>
                  <a:gd name="T14" fmla="*/ 0 w 886"/>
                  <a:gd name="T15" fmla="*/ 120 h 241"/>
                  <a:gd name="T16" fmla="*/ 0 w 886"/>
                  <a:gd name="T17" fmla="*/ 120 h 241"/>
                  <a:gd name="T18" fmla="*/ 121 w 886"/>
                  <a:gd name="T19" fmla="*/ 241 h 241"/>
                  <a:gd name="T20" fmla="*/ 187 w 886"/>
                  <a:gd name="T21" fmla="*/ 221 h 241"/>
                  <a:gd name="T22" fmla="*/ 189 w 886"/>
                  <a:gd name="T23" fmla="*/ 220 h 241"/>
                  <a:gd name="T24" fmla="*/ 443 w 886"/>
                  <a:gd name="T25" fmla="*/ 146 h 241"/>
                  <a:gd name="T26" fmla="*/ 697 w 886"/>
                  <a:gd name="T27" fmla="*/ 220 h 241"/>
                  <a:gd name="T28" fmla="*/ 699 w 886"/>
                  <a:gd name="T29" fmla="*/ 221 h 241"/>
                  <a:gd name="T30" fmla="*/ 765 w 886"/>
                  <a:gd name="T31" fmla="*/ 241 h 241"/>
                  <a:gd name="T32" fmla="*/ 886 w 886"/>
                  <a:gd name="T33" fmla="*/ 120 h 241"/>
                  <a:gd name="T34" fmla="*/ 765 w 886"/>
                  <a:gd name="T35" fmla="*/ 0 h 2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886" h="241">
                    <a:moveTo>
                      <a:pt x="765" y="0"/>
                    </a:moveTo>
                    <a:cubicBezTo>
                      <a:pt x="741" y="0"/>
                      <a:pt x="718" y="7"/>
                      <a:pt x="699" y="19"/>
                    </a:cubicBezTo>
                    <a:cubicBezTo>
                      <a:pt x="699" y="20"/>
                      <a:pt x="698" y="20"/>
                      <a:pt x="697" y="21"/>
                    </a:cubicBezTo>
                    <a:cubicBezTo>
                      <a:pt x="624" y="67"/>
                      <a:pt x="537" y="94"/>
                      <a:pt x="443" y="94"/>
                    </a:cubicBezTo>
                    <a:cubicBezTo>
                      <a:pt x="349" y="94"/>
                      <a:pt x="262" y="67"/>
                      <a:pt x="189" y="21"/>
                    </a:cubicBezTo>
                    <a:cubicBezTo>
                      <a:pt x="188" y="20"/>
                      <a:pt x="188" y="20"/>
                      <a:pt x="187" y="20"/>
                    </a:cubicBezTo>
                    <a:cubicBezTo>
                      <a:pt x="168" y="7"/>
                      <a:pt x="145" y="0"/>
                      <a:pt x="121" y="0"/>
                    </a:cubicBezTo>
                    <a:cubicBezTo>
                      <a:pt x="54" y="0"/>
                      <a:pt x="0" y="54"/>
                      <a:pt x="0" y="120"/>
                    </a:cubicBezTo>
                    <a:cubicBezTo>
                      <a:pt x="0" y="120"/>
                      <a:pt x="0" y="120"/>
                      <a:pt x="0" y="120"/>
                    </a:cubicBezTo>
                    <a:cubicBezTo>
                      <a:pt x="0" y="187"/>
                      <a:pt x="54" y="241"/>
                      <a:pt x="121" y="241"/>
                    </a:cubicBezTo>
                    <a:cubicBezTo>
                      <a:pt x="145" y="241"/>
                      <a:pt x="168" y="233"/>
                      <a:pt x="187" y="221"/>
                    </a:cubicBezTo>
                    <a:cubicBezTo>
                      <a:pt x="187" y="220"/>
                      <a:pt x="188" y="220"/>
                      <a:pt x="189" y="220"/>
                    </a:cubicBezTo>
                    <a:cubicBezTo>
                      <a:pt x="262" y="173"/>
                      <a:pt x="349" y="146"/>
                      <a:pt x="443" y="146"/>
                    </a:cubicBezTo>
                    <a:cubicBezTo>
                      <a:pt x="537" y="146"/>
                      <a:pt x="624" y="173"/>
                      <a:pt x="697" y="220"/>
                    </a:cubicBezTo>
                    <a:cubicBezTo>
                      <a:pt x="698" y="220"/>
                      <a:pt x="698" y="220"/>
                      <a:pt x="699" y="221"/>
                    </a:cubicBezTo>
                    <a:cubicBezTo>
                      <a:pt x="718" y="233"/>
                      <a:pt x="741" y="241"/>
                      <a:pt x="765" y="241"/>
                    </a:cubicBezTo>
                    <a:cubicBezTo>
                      <a:pt x="832" y="241"/>
                      <a:pt x="886" y="187"/>
                      <a:pt x="886" y="120"/>
                    </a:cubicBezTo>
                    <a:cubicBezTo>
                      <a:pt x="886" y="54"/>
                      <a:pt x="832" y="0"/>
                      <a:pt x="765" y="0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3" name="íṧḷíďe">
                <a:extLst>
                  <a:ext uri="{FF2B5EF4-FFF2-40B4-BE49-F238E27FC236}">
                    <a16:creationId xmlns:a16="http://schemas.microsoft.com/office/drawing/2014/main" id="{9D26FBF2-860B-4017-867B-D1A7159BE8C7}"/>
                  </a:ext>
                </a:extLst>
              </p:cNvPr>
              <p:cNvSpPr/>
              <p:nvPr/>
            </p:nvSpPr>
            <p:spPr bwMode="auto">
              <a:xfrm>
                <a:off x="676" y="1687"/>
                <a:ext cx="498" cy="49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4" name="îSlíḍé">
                <a:extLst>
                  <a:ext uri="{FF2B5EF4-FFF2-40B4-BE49-F238E27FC236}">
                    <a16:creationId xmlns:a16="http://schemas.microsoft.com/office/drawing/2014/main" id="{02F3CA88-B0EF-48AE-8F4A-40277B5DCB10}"/>
                  </a:ext>
                </a:extLst>
              </p:cNvPr>
              <p:cNvSpPr/>
              <p:nvPr/>
            </p:nvSpPr>
            <p:spPr bwMode="auto">
              <a:xfrm>
                <a:off x="2200" y="1687"/>
                <a:ext cx="498" cy="49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grpSp>
          <p:nvGrpSpPr>
            <p:cNvPr id="11" name="ïṣḻiḑe">
              <a:extLst>
                <a:ext uri="{FF2B5EF4-FFF2-40B4-BE49-F238E27FC236}">
                  <a16:creationId xmlns:a16="http://schemas.microsoft.com/office/drawing/2014/main" id="{66CFC911-6A0E-4DF5-9343-AB4946E65AC4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 rot="1800000">
              <a:off x="6061911" y="2796090"/>
              <a:ext cx="1918385" cy="661354"/>
              <a:chOff x="121" y="930"/>
              <a:chExt cx="1665" cy="574"/>
            </a:xfrm>
          </p:grpSpPr>
          <p:sp>
            <p:nvSpPr>
              <p:cNvPr id="37" name="ïṣḷiḍe">
                <a:extLst>
                  <a:ext uri="{FF2B5EF4-FFF2-40B4-BE49-F238E27FC236}">
                    <a16:creationId xmlns:a16="http://schemas.microsoft.com/office/drawing/2014/main" id="{C0E59F88-18DA-41EA-A891-60A94C16DD44}"/>
                  </a:ext>
                </a:extLst>
              </p:cNvPr>
              <p:cNvSpPr/>
              <p:nvPr/>
            </p:nvSpPr>
            <p:spPr bwMode="auto">
              <a:xfrm>
                <a:off x="121" y="930"/>
                <a:ext cx="1665" cy="57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8" name="îś1ïďê">
                <a:extLst>
                  <a:ext uri="{FF2B5EF4-FFF2-40B4-BE49-F238E27FC236}">
                    <a16:creationId xmlns:a16="http://schemas.microsoft.com/office/drawing/2014/main" id="{786B9559-2672-40D0-8FB0-6DA5EB9B76BC}"/>
                  </a:ext>
                </a:extLst>
              </p:cNvPr>
              <p:cNvSpPr/>
              <p:nvPr/>
            </p:nvSpPr>
            <p:spPr bwMode="auto">
              <a:xfrm>
                <a:off x="121" y="932"/>
                <a:ext cx="1665" cy="570"/>
              </a:xfrm>
              <a:custGeom>
                <a:avLst/>
                <a:gdLst>
                  <a:gd name="T0" fmla="*/ 585 w 705"/>
                  <a:gd name="T1" fmla="*/ 0 h 241"/>
                  <a:gd name="T2" fmla="*/ 500 w 705"/>
                  <a:gd name="T3" fmla="*/ 35 h 241"/>
                  <a:gd name="T4" fmla="*/ 494 w 705"/>
                  <a:gd name="T5" fmla="*/ 41 h 241"/>
                  <a:gd name="T6" fmla="*/ 352 w 705"/>
                  <a:gd name="T7" fmla="*/ 101 h 241"/>
                  <a:gd name="T8" fmla="*/ 211 w 705"/>
                  <a:gd name="T9" fmla="*/ 41 h 241"/>
                  <a:gd name="T10" fmla="*/ 205 w 705"/>
                  <a:gd name="T11" fmla="*/ 35 h 241"/>
                  <a:gd name="T12" fmla="*/ 120 w 705"/>
                  <a:gd name="T13" fmla="*/ 0 h 241"/>
                  <a:gd name="T14" fmla="*/ 0 w 705"/>
                  <a:gd name="T15" fmla="*/ 120 h 241"/>
                  <a:gd name="T16" fmla="*/ 120 w 705"/>
                  <a:gd name="T17" fmla="*/ 241 h 241"/>
                  <a:gd name="T18" fmla="*/ 205 w 705"/>
                  <a:gd name="T19" fmla="*/ 206 h 241"/>
                  <a:gd name="T20" fmla="*/ 211 w 705"/>
                  <a:gd name="T21" fmla="*/ 199 h 241"/>
                  <a:gd name="T22" fmla="*/ 352 w 705"/>
                  <a:gd name="T23" fmla="*/ 140 h 241"/>
                  <a:gd name="T24" fmla="*/ 494 w 705"/>
                  <a:gd name="T25" fmla="*/ 199 h 241"/>
                  <a:gd name="T26" fmla="*/ 500 w 705"/>
                  <a:gd name="T27" fmla="*/ 206 h 241"/>
                  <a:gd name="T28" fmla="*/ 585 w 705"/>
                  <a:gd name="T29" fmla="*/ 241 h 241"/>
                  <a:gd name="T30" fmla="*/ 705 w 705"/>
                  <a:gd name="T31" fmla="*/ 120 h 241"/>
                  <a:gd name="T32" fmla="*/ 585 w 705"/>
                  <a:gd name="T33" fmla="*/ 0 h 2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705" h="241">
                    <a:moveTo>
                      <a:pt x="585" y="0"/>
                    </a:moveTo>
                    <a:cubicBezTo>
                      <a:pt x="552" y="0"/>
                      <a:pt x="522" y="13"/>
                      <a:pt x="500" y="35"/>
                    </a:cubicBezTo>
                    <a:cubicBezTo>
                      <a:pt x="498" y="37"/>
                      <a:pt x="496" y="39"/>
                      <a:pt x="494" y="41"/>
                    </a:cubicBezTo>
                    <a:cubicBezTo>
                      <a:pt x="458" y="78"/>
                      <a:pt x="408" y="101"/>
                      <a:pt x="352" y="101"/>
                    </a:cubicBezTo>
                    <a:cubicBezTo>
                      <a:pt x="297" y="101"/>
                      <a:pt x="247" y="78"/>
                      <a:pt x="211" y="41"/>
                    </a:cubicBezTo>
                    <a:cubicBezTo>
                      <a:pt x="209" y="39"/>
                      <a:pt x="207" y="37"/>
                      <a:pt x="205" y="35"/>
                    </a:cubicBezTo>
                    <a:cubicBezTo>
                      <a:pt x="183" y="13"/>
                      <a:pt x="153" y="0"/>
                      <a:pt x="120" y="0"/>
                    </a:cubicBezTo>
                    <a:cubicBezTo>
                      <a:pt x="53" y="0"/>
                      <a:pt x="0" y="54"/>
                      <a:pt x="0" y="120"/>
                    </a:cubicBezTo>
                    <a:cubicBezTo>
                      <a:pt x="0" y="187"/>
                      <a:pt x="53" y="241"/>
                      <a:pt x="120" y="241"/>
                    </a:cubicBezTo>
                    <a:cubicBezTo>
                      <a:pt x="153" y="241"/>
                      <a:pt x="183" y="227"/>
                      <a:pt x="205" y="206"/>
                    </a:cubicBezTo>
                    <a:cubicBezTo>
                      <a:pt x="207" y="204"/>
                      <a:pt x="209" y="201"/>
                      <a:pt x="211" y="199"/>
                    </a:cubicBezTo>
                    <a:cubicBezTo>
                      <a:pt x="247" y="163"/>
                      <a:pt x="297" y="140"/>
                      <a:pt x="352" y="140"/>
                    </a:cubicBezTo>
                    <a:cubicBezTo>
                      <a:pt x="408" y="140"/>
                      <a:pt x="458" y="163"/>
                      <a:pt x="494" y="199"/>
                    </a:cubicBezTo>
                    <a:cubicBezTo>
                      <a:pt x="496" y="201"/>
                      <a:pt x="498" y="204"/>
                      <a:pt x="500" y="206"/>
                    </a:cubicBezTo>
                    <a:cubicBezTo>
                      <a:pt x="522" y="227"/>
                      <a:pt x="552" y="241"/>
                      <a:pt x="585" y="241"/>
                    </a:cubicBezTo>
                    <a:cubicBezTo>
                      <a:pt x="651" y="241"/>
                      <a:pt x="705" y="187"/>
                      <a:pt x="705" y="120"/>
                    </a:cubicBezTo>
                    <a:cubicBezTo>
                      <a:pt x="705" y="54"/>
                      <a:pt x="651" y="0"/>
                      <a:pt x="585" y="0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9" name="ïṣľîḍé">
                <a:extLst>
                  <a:ext uri="{FF2B5EF4-FFF2-40B4-BE49-F238E27FC236}">
                    <a16:creationId xmlns:a16="http://schemas.microsoft.com/office/drawing/2014/main" id="{F7630410-14EE-47D5-83BE-2FA2D813C802}"/>
                  </a:ext>
                </a:extLst>
              </p:cNvPr>
              <p:cNvSpPr/>
              <p:nvPr/>
            </p:nvSpPr>
            <p:spPr bwMode="auto">
              <a:xfrm>
                <a:off x="156" y="968"/>
                <a:ext cx="496" cy="49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0" name="iṣļiḍé">
                <a:extLst>
                  <a:ext uri="{FF2B5EF4-FFF2-40B4-BE49-F238E27FC236}">
                    <a16:creationId xmlns:a16="http://schemas.microsoft.com/office/drawing/2014/main" id="{A52A6DBA-F8DA-463B-B50C-C32C0A10FAFE}"/>
                  </a:ext>
                </a:extLst>
              </p:cNvPr>
              <p:cNvSpPr/>
              <p:nvPr/>
            </p:nvSpPr>
            <p:spPr bwMode="auto">
              <a:xfrm>
                <a:off x="1252" y="968"/>
                <a:ext cx="499" cy="49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sp>
          <p:nvSpPr>
            <p:cNvPr id="12" name="ïsľîḓe">
              <a:extLst>
                <a:ext uri="{FF2B5EF4-FFF2-40B4-BE49-F238E27FC236}">
                  <a16:creationId xmlns:a16="http://schemas.microsoft.com/office/drawing/2014/main" id="{A2CDD107-3301-47C9-B88F-AF0BF65887AB}"/>
                </a:ext>
              </a:extLst>
            </p:cNvPr>
            <p:cNvSpPr txBox="1"/>
            <p:nvPr/>
          </p:nvSpPr>
          <p:spPr>
            <a:xfrm>
              <a:off x="870216" y="4842702"/>
              <a:ext cx="1607153" cy="461665"/>
            </a:xfrm>
            <a:prstGeom prst="rect">
              <a:avLst/>
            </a:prstGeom>
            <a:noFill/>
          </p:spPr>
          <p:txBody>
            <a:bodyPr wrap="square">
              <a:normAutofit/>
            </a:bodyPr>
            <a:lstStyle/>
            <a:p>
              <a:pPr algn="ctr"/>
              <a:endParaRPr lang="en-US" altLang="zh-HK" sz="2400" dirty="0"/>
            </a:p>
          </p:txBody>
        </p:sp>
        <p:cxnSp>
          <p:nvCxnSpPr>
            <p:cNvPr id="13" name="直接连接符 12">
              <a:extLst>
                <a:ext uri="{FF2B5EF4-FFF2-40B4-BE49-F238E27FC236}">
                  <a16:creationId xmlns:a16="http://schemas.microsoft.com/office/drawing/2014/main" id="{11FD4B3A-6494-428B-A1B0-2651F1B37CB4}"/>
                </a:ext>
              </a:extLst>
            </p:cNvPr>
            <p:cNvCxnSpPr/>
            <p:nvPr/>
          </p:nvCxnSpPr>
          <p:spPr>
            <a:xfrm>
              <a:off x="2779345" y="4976051"/>
              <a:ext cx="0" cy="905733"/>
            </a:xfrm>
            <a:prstGeom prst="line">
              <a:avLst/>
            </a:prstGeom>
            <a:ln w="9525">
              <a:solidFill>
                <a:schemeClr val="bg2">
                  <a:lumMod val="85000"/>
                </a:schemeClr>
              </a:solidFill>
              <a:prstDash val="dash"/>
              <a:headEnd type="oval" w="sm" len="sm"/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直接连接符 13">
              <a:extLst>
                <a:ext uri="{FF2B5EF4-FFF2-40B4-BE49-F238E27FC236}">
                  <a16:creationId xmlns:a16="http://schemas.microsoft.com/office/drawing/2014/main" id="{CFF6CFF0-558F-4156-9719-3F67AB2742BB}"/>
                </a:ext>
              </a:extLst>
            </p:cNvPr>
            <p:cNvCxnSpPr/>
            <p:nvPr/>
          </p:nvCxnSpPr>
          <p:spPr>
            <a:xfrm>
              <a:off x="4990449" y="4976051"/>
              <a:ext cx="0" cy="905733"/>
            </a:xfrm>
            <a:prstGeom prst="line">
              <a:avLst/>
            </a:prstGeom>
            <a:ln w="9525">
              <a:solidFill>
                <a:schemeClr val="bg2">
                  <a:lumMod val="85000"/>
                </a:schemeClr>
              </a:solidFill>
              <a:prstDash val="dash"/>
              <a:headEnd type="oval" w="sm" len="sm"/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直接连接符 14">
              <a:extLst>
                <a:ext uri="{FF2B5EF4-FFF2-40B4-BE49-F238E27FC236}">
                  <a16:creationId xmlns:a16="http://schemas.microsoft.com/office/drawing/2014/main" id="{BC4FE20B-07B3-44BA-A2C0-489A5209C0DC}"/>
                </a:ext>
              </a:extLst>
            </p:cNvPr>
            <p:cNvCxnSpPr/>
            <p:nvPr/>
          </p:nvCxnSpPr>
          <p:spPr>
            <a:xfrm>
              <a:off x="7201553" y="4976051"/>
              <a:ext cx="0" cy="905733"/>
            </a:xfrm>
            <a:prstGeom prst="line">
              <a:avLst/>
            </a:prstGeom>
            <a:ln w="9525">
              <a:solidFill>
                <a:schemeClr val="bg2">
                  <a:lumMod val="85000"/>
                </a:schemeClr>
              </a:solidFill>
              <a:prstDash val="dash"/>
              <a:headEnd type="oval" w="sm" len="sm"/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直接连接符 15">
              <a:extLst>
                <a:ext uri="{FF2B5EF4-FFF2-40B4-BE49-F238E27FC236}">
                  <a16:creationId xmlns:a16="http://schemas.microsoft.com/office/drawing/2014/main" id="{A2E6DB66-6A48-45BA-8FAD-F7F7F2E910AB}"/>
                </a:ext>
              </a:extLst>
            </p:cNvPr>
            <p:cNvCxnSpPr/>
            <p:nvPr/>
          </p:nvCxnSpPr>
          <p:spPr>
            <a:xfrm>
              <a:off x="9412655" y="4976051"/>
              <a:ext cx="0" cy="905733"/>
            </a:xfrm>
            <a:prstGeom prst="line">
              <a:avLst/>
            </a:prstGeom>
            <a:ln w="9525">
              <a:solidFill>
                <a:schemeClr val="bg2">
                  <a:lumMod val="85000"/>
                </a:schemeClr>
              </a:solidFill>
              <a:prstDash val="dash"/>
              <a:headEnd type="oval" w="sm" len="sm"/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ïṥḷíḑé">
              <a:extLst>
                <a:ext uri="{FF2B5EF4-FFF2-40B4-BE49-F238E27FC236}">
                  <a16:creationId xmlns:a16="http://schemas.microsoft.com/office/drawing/2014/main" id="{CF54DE50-4931-412C-803A-836A09391D02}"/>
                </a:ext>
              </a:extLst>
            </p:cNvPr>
            <p:cNvSpPr txBox="1"/>
            <p:nvPr/>
          </p:nvSpPr>
          <p:spPr>
            <a:xfrm>
              <a:off x="3081320" y="4842701"/>
              <a:ext cx="1607153" cy="461665"/>
            </a:xfrm>
            <a:prstGeom prst="rect">
              <a:avLst/>
            </a:prstGeom>
            <a:noFill/>
          </p:spPr>
          <p:txBody>
            <a:bodyPr wrap="square">
              <a:normAutofit/>
            </a:bodyPr>
            <a:lstStyle/>
            <a:p>
              <a:pPr algn="ctr"/>
              <a:endParaRPr lang="en-US" altLang="zh-HK" sz="2400" dirty="0"/>
            </a:p>
          </p:txBody>
        </p:sp>
        <p:sp>
          <p:nvSpPr>
            <p:cNvPr id="18" name="iṡľïďe">
              <a:extLst>
                <a:ext uri="{FF2B5EF4-FFF2-40B4-BE49-F238E27FC236}">
                  <a16:creationId xmlns:a16="http://schemas.microsoft.com/office/drawing/2014/main" id="{5DC73C1B-FBD7-4398-98B0-A982A3884CB0}"/>
                </a:ext>
              </a:extLst>
            </p:cNvPr>
            <p:cNvSpPr txBox="1"/>
            <p:nvPr/>
          </p:nvSpPr>
          <p:spPr>
            <a:xfrm>
              <a:off x="5292424" y="4842702"/>
              <a:ext cx="1607153" cy="461665"/>
            </a:xfrm>
            <a:prstGeom prst="rect">
              <a:avLst/>
            </a:prstGeom>
            <a:noFill/>
          </p:spPr>
          <p:txBody>
            <a:bodyPr wrap="square">
              <a:normAutofit/>
            </a:bodyPr>
            <a:lstStyle/>
            <a:p>
              <a:pPr algn="ctr"/>
              <a:endParaRPr lang="en-US" altLang="zh-HK" sz="2400" dirty="0"/>
            </a:p>
          </p:txBody>
        </p:sp>
        <p:sp>
          <p:nvSpPr>
            <p:cNvPr id="19" name="ïṩḻïḍè">
              <a:extLst>
                <a:ext uri="{FF2B5EF4-FFF2-40B4-BE49-F238E27FC236}">
                  <a16:creationId xmlns:a16="http://schemas.microsoft.com/office/drawing/2014/main" id="{05A7491E-5FCE-4D85-B625-52E6EAB2B38B}"/>
                </a:ext>
              </a:extLst>
            </p:cNvPr>
            <p:cNvSpPr txBox="1"/>
            <p:nvPr/>
          </p:nvSpPr>
          <p:spPr>
            <a:xfrm>
              <a:off x="7503528" y="4842702"/>
              <a:ext cx="1607153" cy="461665"/>
            </a:xfrm>
            <a:prstGeom prst="rect">
              <a:avLst/>
            </a:prstGeom>
            <a:noFill/>
          </p:spPr>
          <p:txBody>
            <a:bodyPr wrap="square">
              <a:normAutofit/>
            </a:bodyPr>
            <a:lstStyle/>
            <a:p>
              <a:pPr algn="ctr"/>
              <a:endParaRPr lang="en-US" altLang="zh-HK" sz="2400" dirty="0"/>
            </a:p>
          </p:txBody>
        </p:sp>
        <p:sp>
          <p:nvSpPr>
            <p:cNvPr id="20" name="ïşļîḋé">
              <a:extLst>
                <a:ext uri="{FF2B5EF4-FFF2-40B4-BE49-F238E27FC236}">
                  <a16:creationId xmlns:a16="http://schemas.microsoft.com/office/drawing/2014/main" id="{779AFBC7-BB87-4226-86C2-15BD439F3489}"/>
                </a:ext>
              </a:extLst>
            </p:cNvPr>
            <p:cNvSpPr txBox="1"/>
            <p:nvPr/>
          </p:nvSpPr>
          <p:spPr>
            <a:xfrm>
              <a:off x="9714631" y="4842702"/>
              <a:ext cx="1607153" cy="461665"/>
            </a:xfrm>
            <a:prstGeom prst="rect">
              <a:avLst/>
            </a:prstGeom>
            <a:noFill/>
          </p:spPr>
          <p:txBody>
            <a:bodyPr wrap="square">
              <a:normAutofit/>
            </a:bodyPr>
            <a:lstStyle/>
            <a:p>
              <a:pPr algn="ctr"/>
              <a:endParaRPr lang="en-US" altLang="zh-HK" sz="2400" dirty="0"/>
            </a:p>
          </p:txBody>
        </p:sp>
        <p:sp>
          <p:nvSpPr>
            <p:cNvPr id="21" name="iŝliḋè">
              <a:extLst>
                <a:ext uri="{FF2B5EF4-FFF2-40B4-BE49-F238E27FC236}">
                  <a16:creationId xmlns:a16="http://schemas.microsoft.com/office/drawing/2014/main" id="{5B5DF2CA-2235-4A63-BAFC-D2ABBCD852B0}"/>
                </a:ext>
              </a:extLst>
            </p:cNvPr>
            <p:cNvSpPr txBox="1"/>
            <p:nvPr/>
          </p:nvSpPr>
          <p:spPr>
            <a:xfrm>
              <a:off x="870216" y="5366577"/>
              <a:ext cx="1607153" cy="307777"/>
            </a:xfrm>
            <a:prstGeom prst="rect">
              <a:avLst/>
            </a:prstGeom>
            <a:noFill/>
          </p:spPr>
          <p:txBody>
            <a:bodyPr wrap="square">
              <a:normAutofit/>
            </a:bodyPr>
            <a:lstStyle/>
            <a:p>
              <a:pPr algn="ctr"/>
              <a:r>
                <a:rPr lang="zh-CN" altLang="en-US" sz="1400" dirty="0"/>
                <a:t>获取新信息</a:t>
              </a:r>
            </a:p>
          </p:txBody>
        </p:sp>
        <p:sp>
          <p:nvSpPr>
            <p:cNvPr id="22" name="î$ļïdè">
              <a:extLst>
                <a:ext uri="{FF2B5EF4-FFF2-40B4-BE49-F238E27FC236}">
                  <a16:creationId xmlns:a16="http://schemas.microsoft.com/office/drawing/2014/main" id="{9BA256A3-E339-4CE0-9C44-84895F8572F5}"/>
                </a:ext>
              </a:extLst>
            </p:cNvPr>
            <p:cNvSpPr txBox="1"/>
            <p:nvPr/>
          </p:nvSpPr>
          <p:spPr>
            <a:xfrm>
              <a:off x="3081320" y="5366577"/>
              <a:ext cx="1607153" cy="307777"/>
            </a:xfrm>
            <a:prstGeom prst="rect">
              <a:avLst/>
            </a:prstGeom>
            <a:noFill/>
          </p:spPr>
          <p:txBody>
            <a:bodyPr wrap="square">
              <a:normAutofit/>
            </a:bodyPr>
            <a:lstStyle/>
            <a:p>
              <a:pPr algn="ctr"/>
              <a:r>
                <a:rPr lang="zh-CN" altLang="en-US" sz="1400" dirty="0"/>
                <a:t>生成特征码</a:t>
              </a:r>
            </a:p>
          </p:txBody>
        </p:sp>
        <p:sp>
          <p:nvSpPr>
            <p:cNvPr id="23" name="iṡ1îḑe">
              <a:extLst>
                <a:ext uri="{FF2B5EF4-FFF2-40B4-BE49-F238E27FC236}">
                  <a16:creationId xmlns:a16="http://schemas.microsoft.com/office/drawing/2014/main" id="{AFE37521-7160-4BE0-89C9-5F8D2C398982}"/>
                </a:ext>
              </a:extLst>
            </p:cNvPr>
            <p:cNvSpPr txBox="1"/>
            <p:nvPr/>
          </p:nvSpPr>
          <p:spPr>
            <a:xfrm>
              <a:off x="5292424" y="5366577"/>
              <a:ext cx="1607153" cy="307777"/>
            </a:xfrm>
            <a:prstGeom prst="rect">
              <a:avLst/>
            </a:prstGeom>
            <a:noFill/>
          </p:spPr>
          <p:txBody>
            <a:bodyPr wrap="square">
              <a:normAutofit/>
            </a:bodyPr>
            <a:lstStyle/>
            <a:p>
              <a:pPr algn="ctr"/>
              <a:r>
                <a:rPr lang="zh-CN" altLang="en-US" sz="1400" dirty="0"/>
                <a:t>生成取件码</a:t>
              </a:r>
            </a:p>
          </p:txBody>
        </p:sp>
        <p:sp>
          <p:nvSpPr>
            <p:cNvPr id="24" name="iṡḷíḋê">
              <a:extLst>
                <a:ext uri="{FF2B5EF4-FFF2-40B4-BE49-F238E27FC236}">
                  <a16:creationId xmlns:a16="http://schemas.microsoft.com/office/drawing/2014/main" id="{859D846A-3FA9-4F52-BDF3-F7902EDA2119}"/>
                </a:ext>
              </a:extLst>
            </p:cNvPr>
            <p:cNvSpPr txBox="1"/>
            <p:nvPr/>
          </p:nvSpPr>
          <p:spPr>
            <a:xfrm>
              <a:off x="7503528" y="5366577"/>
              <a:ext cx="1607153" cy="307777"/>
            </a:xfrm>
            <a:prstGeom prst="rect">
              <a:avLst/>
            </a:prstGeom>
            <a:noFill/>
          </p:spPr>
          <p:txBody>
            <a:bodyPr wrap="square">
              <a:normAutofit/>
            </a:bodyPr>
            <a:lstStyle/>
            <a:p>
              <a:pPr algn="ctr"/>
              <a:r>
                <a:rPr lang="zh-CN" altLang="en-US" sz="1400" dirty="0"/>
                <a:t>存入数据库</a:t>
              </a:r>
            </a:p>
          </p:txBody>
        </p:sp>
        <p:sp>
          <p:nvSpPr>
            <p:cNvPr id="25" name="îšḷiḓé">
              <a:extLst>
                <a:ext uri="{FF2B5EF4-FFF2-40B4-BE49-F238E27FC236}">
                  <a16:creationId xmlns:a16="http://schemas.microsoft.com/office/drawing/2014/main" id="{123ACA53-6212-465C-9FC2-9061BD747A6E}"/>
                </a:ext>
              </a:extLst>
            </p:cNvPr>
            <p:cNvSpPr txBox="1"/>
            <p:nvPr/>
          </p:nvSpPr>
          <p:spPr>
            <a:xfrm>
              <a:off x="9714631" y="5366577"/>
              <a:ext cx="1607153" cy="307777"/>
            </a:xfrm>
            <a:prstGeom prst="rect">
              <a:avLst/>
            </a:prstGeom>
            <a:noFill/>
          </p:spPr>
          <p:txBody>
            <a:bodyPr wrap="square">
              <a:normAutofit fontScale="92500"/>
            </a:bodyPr>
            <a:lstStyle/>
            <a:p>
              <a:pPr algn="ctr"/>
              <a:r>
                <a:rPr lang="zh-CN" altLang="en-US" sz="1400" dirty="0"/>
                <a:t>客户</a:t>
              </a:r>
              <a:r>
                <a:rPr lang="en-US" altLang="zh-CN" sz="1400" dirty="0"/>
                <a:t>/</a:t>
              </a:r>
              <a:r>
                <a:rPr lang="zh-CN" altLang="en-US" sz="1400" dirty="0"/>
                <a:t>商家查询数据</a:t>
              </a:r>
            </a:p>
          </p:txBody>
        </p:sp>
        <p:sp>
          <p:nvSpPr>
            <p:cNvPr id="26" name="îśliḍê">
              <a:extLst>
                <a:ext uri="{FF2B5EF4-FFF2-40B4-BE49-F238E27FC236}">
                  <a16:creationId xmlns:a16="http://schemas.microsoft.com/office/drawing/2014/main" id="{F701469C-2BF4-4CBF-8119-5F24AD155ADD}"/>
                </a:ext>
              </a:extLst>
            </p:cNvPr>
            <p:cNvSpPr/>
            <p:nvPr/>
          </p:nvSpPr>
          <p:spPr bwMode="auto">
            <a:xfrm>
              <a:off x="2211650" y="3161608"/>
              <a:ext cx="296981" cy="269151"/>
            </a:xfrm>
            <a:custGeom>
              <a:avLst/>
              <a:gdLst>
                <a:gd name="connsiteX0" fmla="*/ 496512 w 622984"/>
                <a:gd name="connsiteY0" fmla="*/ 492841 h 564606"/>
                <a:gd name="connsiteX1" fmla="*/ 473955 w 622984"/>
                <a:gd name="connsiteY1" fmla="*/ 515853 h 564606"/>
                <a:gd name="connsiteX2" fmla="*/ 496512 w 622984"/>
                <a:gd name="connsiteY2" fmla="*/ 535354 h 564606"/>
                <a:gd name="connsiteX3" fmla="*/ 519457 w 622984"/>
                <a:gd name="connsiteY3" fmla="*/ 515853 h 564606"/>
                <a:gd name="connsiteX4" fmla="*/ 496512 w 622984"/>
                <a:gd name="connsiteY4" fmla="*/ 492841 h 564606"/>
                <a:gd name="connsiteX5" fmla="*/ 249694 w 622984"/>
                <a:gd name="connsiteY5" fmla="*/ 352049 h 564606"/>
                <a:gd name="connsiteX6" fmla="*/ 272741 w 622984"/>
                <a:gd name="connsiteY6" fmla="*/ 374570 h 564606"/>
                <a:gd name="connsiteX7" fmla="*/ 171569 w 622984"/>
                <a:gd name="connsiteY7" fmla="*/ 475137 h 564606"/>
                <a:gd name="connsiteX8" fmla="*/ 177819 w 622984"/>
                <a:gd name="connsiteY8" fmla="*/ 481738 h 564606"/>
                <a:gd name="connsiteX9" fmla="*/ 155163 w 622984"/>
                <a:gd name="connsiteY9" fmla="*/ 510860 h 564606"/>
                <a:gd name="connsiteX10" fmla="*/ 73522 w 622984"/>
                <a:gd name="connsiteY10" fmla="*/ 562891 h 564606"/>
                <a:gd name="connsiteX11" fmla="*/ 60241 w 622984"/>
                <a:gd name="connsiteY11" fmla="*/ 550077 h 564606"/>
                <a:gd name="connsiteX12" fmla="*/ 112585 w 622984"/>
                <a:gd name="connsiteY12" fmla="*/ 468925 h 564606"/>
                <a:gd name="connsiteX13" fmla="*/ 141882 w 622984"/>
                <a:gd name="connsiteY13" fmla="*/ 446015 h 564606"/>
                <a:gd name="connsiteX14" fmla="*/ 148522 w 622984"/>
                <a:gd name="connsiteY14" fmla="*/ 452616 h 564606"/>
                <a:gd name="connsiteX15" fmla="*/ 122234 w 622984"/>
                <a:gd name="connsiteY15" fmla="*/ 15041 h 564606"/>
                <a:gd name="connsiteX16" fmla="*/ 210667 w 622984"/>
                <a:gd name="connsiteY16" fmla="*/ 52502 h 564606"/>
                <a:gd name="connsiteX17" fmla="*/ 242946 w 622984"/>
                <a:gd name="connsiteY17" fmla="*/ 173410 h 564606"/>
                <a:gd name="connsiteX18" fmla="*/ 532291 w 622984"/>
                <a:gd name="connsiteY18" fmla="*/ 463589 h 564606"/>
                <a:gd name="connsiteX19" fmla="*/ 532291 w 622984"/>
                <a:gd name="connsiteY19" fmla="*/ 545105 h 564606"/>
                <a:gd name="connsiteX20" fmla="*/ 493400 w 622984"/>
                <a:gd name="connsiteY20" fmla="*/ 564606 h 564606"/>
                <a:gd name="connsiteX21" fmla="*/ 451010 w 622984"/>
                <a:gd name="connsiteY21" fmla="*/ 545105 h 564606"/>
                <a:gd name="connsiteX22" fmla="*/ 161665 w 622984"/>
                <a:gd name="connsiteY22" fmla="*/ 258046 h 564606"/>
                <a:gd name="connsiteX23" fmla="*/ 34882 w 622984"/>
                <a:gd name="connsiteY23" fmla="*/ 225674 h 564606"/>
                <a:gd name="connsiteX24" fmla="*/ 5715 w 622984"/>
                <a:gd name="connsiteY24" fmla="*/ 104766 h 564606"/>
                <a:gd name="connsiteX25" fmla="*/ 74162 w 622984"/>
                <a:gd name="connsiteY25" fmla="*/ 176530 h 564606"/>
                <a:gd name="connsiteX26" fmla="*/ 142220 w 622984"/>
                <a:gd name="connsiteY26" fmla="*/ 157029 h 564606"/>
                <a:gd name="connsiteX27" fmla="*/ 161665 w 622984"/>
                <a:gd name="connsiteY27" fmla="*/ 88385 h 564606"/>
                <a:gd name="connsiteX28" fmla="*/ 90107 w 622984"/>
                <a:gd name="connsiteY28" fmla="*/ 20130 h 564606"/>
                <a:gd name="connsiteX29" fmla="*/ 122234 w 622984"/>
                <a:gd name="connsiteY29" fmla="*/ 15041 h 564606"/>
                <a:gd name="connsiteX30" fmla="*/ 531841 w 622984"/>
                <a:gd name="connsiteY30" fmla="*/ 0 h 564606"/>
                <a:gd name="connsiteX31" fmla="*/ 622984 w 622984"/>
                <a:gd name="connsiteY31" fmla="*/ 87684 h 564606"/>
                <a:gd name="connsiteX32" fmla="*/ 463289 w 622984"/>
                <a:gd name="connsiteY32" fmla="*/ 247465 h 564606"/>
                <a:gd name="connsiteX33" fmla="*/ 424339 w 622984"/>
                <a:gd name="connsiteY33" fmla="*/ 257207 h 564606"/>
                <a:gd name="connsiteX34" fmla="*/ 362409 w 622984"/>
                <a:gd name="connsiteY34" fmla="*/ 198751 h 564606"/>
                <a:gd name="connsiteX35" fmla="*/ 375263 w 622984"/>
                <a:gd name="connsiteY35" fmla="*/ 159391 h 564606"/>
                <a:gd name="connsiteX36" fmla="*/ 531841 w 622984"/>
                <a:gd name="connsiteY36" fmla="*/ 0 h 56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622984" h="564606">
                  <a:moveTo>
                    <a:pt x="496512" y="492841"/>
                  </a:moveTo>
                  <a:cubicBezTo>
                    <a:pt x="483678" y="492841"/>
                    <a:pt x="473955" y="502592"/>
                    <a:pt x="473955" y="515853"/>
                  </a:cubicBezTo>
                  <a:cubicBezTo>
                    <a:pt x="473955" y="525604"/>
                    <a:pt x="483678" y="535354"/>
                    <a:pt x="496512" y="535354"/>
                  </a:cubicBezTo>
                  <a:cubicBezTo>
                    <a:pt x="509734" y="535354"/>
                    <a:pt x="519457" y="525604"/>
                    <a:pt x="519457" y="515853"/>
                  </a:cubicBezTo>
                  <a:cubicBezTo>
                    <a:pt x="519457" y="502592"/>
                    <a:pt x="509734" y="492841"/>
                    <a:pt x="496512" y="492841"/>
                  </a:cubicBezTo>
                  <a:close/>
                  <a:moveTo>
                    <a:pt x="249694" y="352049"/>
                  </a:moveTo>
                  <a:lnTo>
                    <a:pt x="272741" y="374570"/>
                  </a:lnTo>
                  <a:lnTo>
                    <a:pt x="171569" y="475137"/>
                  </a:lnTo>
                  <a:lnTo>
                    <a:pt x="177819" y="481738"/>
                  </a:lnTo>
                  <a:lnTo>
                    <a:pt x="155163" y="510860"/>
                  </a:lnTo>
                  <a:lnTo>
                    <a:pt x="73522" y="562891"/>
                  </a:lnTo>
                  <a:lnTo>
                    <a:pt x="60241" y="550077"/>
                  </a:lnTo>
                  <a:lnTo>
                    <a:pt x="112585" y="468925"/>
                  </a:lnTo>
                  <a:lnTo>
                    <a:pt x="141882" y="446015"/>
                  </a:lnTo>
                  <a:lnTo>
                    <a:pt x="148522" y="452616"/>
                  </a:lnTo>
                  <a:close/>
                  <a:moveTo>
                    <a:pt x="122234" y="15041"/>
                  </a:moveTo>
                  <a:cubicBezTo>
                    <a:pt x="154446" y="14694"/>
                    <a:pt x="186166" y="28223"/>
                    <a:pt x="210667" y="52502"/>
                  </a:cubicBezTo>
                  <a:cubicBezTo>
                    <a:pt x="242946" y="85264"/>
                    <a:pt x="256169" y="130897"/>
                    <a:pt x="242946" y="173410"/>
                  </a:cubicBezTo>
                  <a:lnTo>
                    <a:pt x="532291" y="463589"/>
                  </a:lnTo>
                  <a:cubicBezTo>
                    <a:pt x="555236" y="486211"/>
                    <a:pt x="555236" y="522093"/>
                    <a:pt x="532291" y="545105"/>
                  </a:cubicBezTo>
                  <a:cubicBezTo>
                    <a:pt x="522568" y="557976"/>
                    <a:pt x="506234" y="564606"/>
                    <a:pt x="493400" y="564606"/>
                  </a:cubicBezTo>
                  <a:cubicBezTo>
                    <a:pt x="477066" y="564606"/>
                    <a:pt x="460733" y="557976"/>
                    <a:pt x="451010" y="545105"/>
                  </a:cubicBezTo>
                  <a:cubicBezTo>
                    <a:pt x="451010" y="545105"/>
                    <a:pt x="451010" y="545105"/>
                    <a:pt x="161665" y="258046"/>
                  </a:cubicBezTo>
                  <a:cubicBezTo>
                    <a:pt x="119275" y="270917"/>
                    <a:pt x="70662" y="261556"/>
                    <a:pt x="34882" y="225674"/>
                  </a:cubicBezTo>
                  <a:cubicBezTo>
                    <a:pt x="2215" y="192911"/>
                    <a:pt x="-7508" y="147278"/>
                    <a:pt x="5715" y="104766"/>
                  </a:cubicBezTo>
                  <a:cubicBezTo>
                    <a:pt x="5715" y="104766"/>
                    <a:pt x="5715" y="104766"/>
                    <a:pt x="74162" y="176530"/>
                  </a:cubicBezTo>
                  <a:cubicBezTo>
                    <a:pt x="74162" y="176530"/>
                    <a:pt x="74162" y="176530"/>
                    <a:pt x="142220" y="157029"/>
                  </a:cubicBezTo>
                  <a:cubicBezTo>
                    <a:pt x="142220" y="157029"/>
                    <a:pt x="142220" y="157029"/>
                    <a:pt x="161665" y="88385"/>
                  </a:cubicBezTo>
                  <a:cubicBezTo>
                    <a:pt x="161665" y="88385"/>
                    <a:pt x="161665" y="88385"/>
                    <a:pt x="90107" y="20130"/>
                  </a:cubicBezTo>
                  <a:cubicBezTo>
                    <a:pt x="100704" y="16815"/>
                    <a:pt x="111497" y="15157"/>
                    <a:pt x="122234" y="15041"/>
                  </a:cubicBezTo>
                  <a:close/>
                  <a:moveTo>
                    <a:pt x="531841" y="0"/>
                  </a:moveTo>
                  <a:cubicBezTo>
                    <a:pt x="531841" y="0"/>
                    <a:pt x="531841" y="0"/>
                    <a:pt x="622984" y="87684"/>
                  </a:cubicBezTo>
                  <a:cubicBezTo>
                    <a:pt x="622984" y="87684"/>
                    <a:pt x="622984" y="87684"/>
                    <a:pt x="463289" y="247465"/>
                  </a:cubicBezTo>
                  <a:cubicBezTo>
                    <a:pt x="450436" y="247465"/>
                    <a:pt x="434077" y="250582"/>
                    <a:pt x="424339" y="257207"/>
                  </a:cubicBezTo>
                  <a:lnTo>
                    <a:pt x="362409" y="198751"/>
                  </a:lnTo>
                  <a:cubicBezTo>
                    <a:pt x="372147" y="189009"/>
                    <a:pt x="375263" y="172641"/>
                    <a:pt x="375263" y="159391"/>
                  </a:cubicBezTo>
                  <a:cubicBezTo>
                    <a:pt x="375263" y="159391"/>
                    <a:pt x="375263" y="159391"/>
                    <a:pt x="531841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/>
            <a:extLst>
              <a:ext uri="{91240B29-F687-4f45-9708-019B960494DF}">
                <a14:hiddenLine xmlns:a16="http://schemas.microsoft.com/office/drawing/2014/main" xmlns:p14="http://schemas.microsoft.com/office/powerpoint/2010/main" xmlns:a14="http://schemas.microsoft.com/office/drawing/2010/main" xmlns:lc="http://schemas.openxmlformats.org/drawingml/2006/lockedCanvas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6="http://schemas.microsoft.com/office/drawing/2014/main" xmlns:p14="http://schemas.microsoft.com/office/powerpoint/2010/main" xmlns:a14="http://schemas.microsoft.com/office/drawing/2010/main" xmlns:lc="http://schemas.openxmlformats.org/drawingml/2006/lockedCanvas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" name="íş1iḋé">
              <a:extLst>
                <a:ext uri="{FF2B5EF4-FFF2-40B4-BE49-F238E27FC236}">
                  <a16:creationId xmlns:a16="http://schemas.microsoft.com/office/drawing/2014/main" id="{46148872-B815-4F61-B79C-BA7F6415B5D6}"/>
                </a:ext>
              </a:extLst>
            </p:cNvPr>
            <p:cNvSpPr/>
            <p:nvPr/>
          </p:nvSpPr>
          <p:spPr bwMode="auto">
            <a:xfrm>
              <a:off x="7419417" y="3294424"/>
              <a:ext cx="296981" cy="269151"/>
            </a:xfrm>
            <a:custGeom>
              <a:avLst/>
              <a:gdLst>
                <a:gd name="connsiteX0" fmla="*/ 496512 w 622984"/>
                <a:gd name="connsiteY0" fmla="*/ 492841 h 564606"/>
                <a:gd name="connsiteX1" fmla="*/ 473955 w 622984"/>
                <a:gd name="connsiteY1" fmla="*/ 515853 h 564606"/>
                <a:gd name="connsiteX2" fmla="*/ 496512 w 622984"/>
                <a:gd name="connsiteY2" fmla="*/ 535354 h 564606"/>
                <a:gd name="connsiteX3" fmla="*/ 519457 w 622984"/>
                <a:gd name="connsiteY3" fmla="*/ 515853 h 564606"/>
                <a:gd name="connsiteX4" fmla="*/ 496512 w 622984"/>
                <a:gd name="connsiteY4" fmla="*/ 492841 h 564606"/>
                <a:gd name="connsiteX5" fmla="*/ 249694 w 622984"/>
                <a:gd name="connsiteY5" fmla="*/ 352049 h 564606"/>
                <a:gd name="connsiteX6" fmla="*/ 272741 w 622984"/>
                <a:gd name="connsiteY6" fmla="*/ 374570 h 564606"/>
                <a:gd name="connsiteX7" fmla="*/ 171569 w 622984"/>
                <a:gd name="connsiteY7" fmla="*/ 475137 h 564606"/>
                <a:gd name="connsiteX8" fmla="*/ 177819 w 622984"/>
                <a:gd name="connsiteY8" fmla="*/ 481738 h 564606"/>
                <a:gd name="connsiteX9" fmla="*/ 155163 w 622984"/>
                <a:gd name="connsiteY9" fmla="*/ 510860 h 564606"/>
                <a:gd name="connsiteX10" fmla="*/ 73522 w 622984"/>
                <a:gd name="connsiteY10" fmla="*/ 562891 h 564606"/>
                <a:gd name="connsiteX11" fmla="*/ 60241 w 622984"/>
                <a:gd name="connsiteY11" fmla="*/ 550077 h 564606"/>
                <a:gd name="connsiteX12" fmla="*/ 112585 w 622984"/>
                <a:gd name="connsiteY12" fmla="*/ 468925 h 564606"/>
                <a:gd name="connsiteX13" fmla="*/ 141882 w 622984"/>
                <a:gd name="connsiteY13" fmla="*/ 446015 h 564606"/>
                <a:gd name="connsiteX14" fmla="*/ 148522 w 622984"/>
                <a:gd name="connsiteY14" fmla="*/ 452616 h 564606"/>
                <a:gd name="connsiteX15" fmla="*/ 122234 w 622984"/>
                <a:gd name="connsiteY15" fmla="*/ 15041 h 564606"/>
                <a:gd name="connsiteX16" fmla="*/ 210667 w 622984"/>
                <a:gd name="connsiteY16" fmla="*/ 52502 h 564606"/>
                <a:gd name="connsiteX17" fmla="*/ 242946 w 622984"/>
                <a:gd name="connsiteY17" fmla="*/ 173410 h 564606"/>
                <a:gd name="connsiteX18" fmla="*/ 532291 w 622984"/>
                <a:gd name="connsiteY18" fmla="*/ 463589 h 564606"/>
                <a:gd name="connsiteX19" fmla="*/ 532291 w 622984"/>
                <a:gd name="connsiteY19" fmla="*/ 545105 h 564606"/>
                <a:gd name="connsiteX20" fmla="*/ 493400 w 622984"/>
                <a:gd name="connsiteY20" fmla="*/ 564606 h 564606"/>
                <a:gd name="connsiteX21" fmla="*/ 451010 w 622984"/>
                <a:gd name="connsiteY21" fmla="*/ 545105 h 564606"/>
                <a:gd name="connsiteX22" fmla="*/ 161665 w 622984"/>
                <a:gd name="connsiteY22" fmla="*/ 258046 h 564606"/>
                <a:gd name="connsiteX23" fmla="*/ 34882 w 622984"/>
                <a:gd name="connsiteY23" fmla="*/ 225674 h 564606"/>
                <a:gd name="connsiteX24" fmla="*/ 5715 w 622984"/>
                <a:gd name="connsiteY24" fmla="*/ 104766 h 564606"/>
                <a:gd name="connsiteX25" fmla="*/ 74162 w 622984"/>
                <a:gd name="connsiteY25" fmla="*/ 176530 h 564606"/>
                <a:gd name="connsiteX26" fmla="*/ 142220 w 622984"/>
                <a:gd name="connsiteY26" fmla="*/ 157029 h 564606"/>
                <a:gd name="connsiteX27" fmla="*/ 161665 w 622984"/>
                <a:gd name="connsiteY27" fmla="*/ 88385 h 564606"/>
                <a:gd name="connsiteX28" fmla="*/ 90107 w 622984"/>
                <a:gd name="connsiteY28" fmla="*/ 20130 h 564606"/>
                <a:gd name="connsiteX29" fmla="*/ 122234 w 622984"/>
                <a:gd name="connsiteY29" fmla="*/ 15041 h 564606"/>
                <a:gd name="connsiteX30" fmla="*/ 531841 w 622984"/>
                <a:gd name="connsiteY30" fmla="*/ 0 h 564606"/>
                <a:gd name="connsiteX31" fmla="*/ 622984 w 622984"/>
                <a:gd name="connsiteY31" fmla="*/ 87684 h 564606"/>
                <a:gd name="connsiteX32" fmla="*/ 463289 w 622984"/>
                <a:gd name="connsiteY32" fmla="*/ 247465 h 564606"/>
                <a:gd name="connsiteX33" fmla="*/ 424339 w 622984"/>
                <a:gd name="connsiteY33" fmla="*/ 257207 h 564606"/>
                <a:gd name="connsiteX34" fmla="*/ 362409 w 622984"/>
                <a:gd name="connsiteY34" fmla="*/ 198751 h 564606"/>
                <a:gd name="connsiteX35" fmla="*/ 375263 w 622984"/>
                <a:gd name="connsiteY35" fmla="*/ 159391 h 564606"/>
                <a:gd name="connsiteX36" fmla="*/ 531841 w 622984"/>
                <a:gd name="connsiteY36" fmla="*/ 0 h 56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622984" h="564606">
                  <a:moveTo>
                    <a:pt x="496512" y="492841"/>
                  </a:moveTo>
                  <a:cubicBezTo>
                    <a:pt x="483678" y="492841"/>
                    <a:pt x="473955" y="502592"/>
                    <a:pt x="473955" y="515853"/>
                  </a:cubicBezTo>
                  <a:cubicBezTo>
                    <a:pt x="473955" y="525604"/>
                    <a:pt x="483678" y="535354"/>
                    <a:pt x="496512" y="535354"/>
                  </a:cubicBezTo>
                  <a:cubicBezTo>
                    <a:pt x="509734" y="535354"/>
                    <a:pt x="519457" y="525604"/>
                    <a:pt x="519457" y="515853"/>
                  </a:cubicBezTo>
                  <a:cubicBezTo>
                    <a:pt x="519457" y="502592"/>
                    <a:pt x="509734" y="492841"/>
                    <a:pt x="496512" y="492841"/>
                  </a:cubicBezTo>
                  <a:close/>
                  <a:moveTo>
                    <a:pt x="249694" y="352049"/>
                  </a:moveTo>
                  <a:lnTo>
                    <a:pt x="272741" y="374570"/>
                  </a:lnTo>
                  <a:lnTo>
                    <a:pt x="171569" y="475137"/>
                  </a:lnTo>
                  <a:lnTo>
                    <a:pt x="177819" y="481738"/>
                  </a:lnTo>
                  <a:lnTo>
                    <a:pt x="155163" y="510860"/>
                  </a:lnTo>
                  <a:lnTo>
                    <a:pt x="73522" y="562891"/>
                  </a:lnTo>
                  <a:lnTo>
                    <a:pt x="60241" y="550077"/>
                  </a:lnTo>
                  <a:lnTo>
                    <a:pt x="112585" y="468925"/>
                  </a:lnTo>
                  <a:lnTo>
                    <a:pt x="141882" y="446015"/>
                  </a:lnTo>
                  <a:lnTo>
                    <a:pt x="148522" y="452616"/>
                  </a:lnTo>
                  <a:close/>
                  <a:moveTo>
                    <a:pt x="122234" y="15041"/>
                  </a:moveTo>
                  <a:cubicBezTo>
                    <a:pt x="154446" y="14694"/>
                    <a:pt x="186166" y="28223"/>
                    <a:pt x="210667" y="52502"/>
                  </a:cubicBezTo>
                  <a:cubicBezTo>
                    <a:pt x="242946" y="85264"/>
                    <a:pt x="256169" y="130897"/>
                    <a:pt x="242946" y="173410"/>
                  </a:cubicBezTo>
                  <a:lnTo>
                    <a:pt x="532291" y="463589"/>
                  </a:lnTo>
                  <a:cubicBezTo>
                    <a:pt x="555236" y="486211"/>
                    <a:pt x="555236" y="522093"/>
                    <a:pt x="532291" y="545105"/>
                  </a:cubicBezTo>
                  <a:cubicBezTo>
                    <a:pt x="522568" y="557976"/>
                    <a:pt x="506234" y="564606"/>
                    <a:pt x="493400" y="564606"/>
                  </a:cubicBezTo>
                  <a:cubicBezTo>
                    <a:pt x="477066" y="564606"/>
                    <a:pt x="460733" y="557976"/>
                    <a:pt x="451010" y="545105"/>
                  </a:cubicBezTo>
                  <a:cubicBezTo>
                    <a:pt x="451010" y="545105"/>
                    <a:pt x="451010" y="545105"/>
                    <a:pt x="161665" y="258046"/>
                  </a:cubicBezTo>
                  <a:cubicBezTo>
                    <a:pt x="119275" y="270917"/>
                    <a:pt x="70662" y="261556"/>
                    <a:pt x="34882" y="225674"/>
                  </a:cubicBezTo>
                  <a:cubicBezTo>
                    <a:pt x="2215" y="192911"/>
                    <a:pt x="-7508" y="147278"/>
                    <a:pt x="5715" y="104766"/>
                  </a:cubicBezTo>
                  <a:cubicBezTo>
                    <a:pt x="5715" y="104766"/>
                    <a:pt x="5715" y="104766"/>
                    <a:pt x="74162" y="176530"/>
                  </a:cubicBezTo>
                  <a:cubicBezTo>
                    <a:pt x="74162" y="176530"/>
                    <a:pt x="74162" y="176530"/>
                    <a:pt x="142220" y="157029"/>
                  </a:cubicBezTo>
                  <a:cubicBezTo>
                    <a:pt x="142220" y="157029"/>
                    <a:pt x="142220" y="157029"/>
                    <a:pt x="161665" y="88385"/>
                  </a:cubicBezTo>
                  <a:cubicBezTo>
                    <a:pt x="161665" y="88385"/>
                    <a:pt x="161665" y="88385"/>
                    <a:pt x="90107" y="20130"/>
                  </a:cubicBezTo>
                  <a:cubicBezTo>
                    <a:pt x="100704" y="16815"/>
                    <a:pt x="111497" y="15157"/>
                    <a:pt x="122234" y="15041"/>
                  </a:cubicBezTo>
                  <a:close/>
                  <a:moveTo>
                    <a:pt x="531841" y="0"/>
                  </a:moveTo>
                  <a:cubicBezTo>
                    <a:pt x="531841" y="0"/>
                    <a:pt x="531841" y="0"/>
                    <a:pt x="622984" y="87684"/>
                  </a:cubicBezTo>
                  <a:cubicBezTo>
                    <a:pt x="622984" y="87684"/>
                    <a:pt x="622984" y="87684"/>
                    <a:pt x="463289" y="247465"/>
                  </a:cubicBezTo>
                  <a:cubicBezTo>
                    <a:pt x="450436" y="247465"/>
                    <a:pt x="434077" y="250582"/>
                    <a:pt x="424339" y="257207"/>
                  </a:cubicBezTo>
                  <a:lnTo>
                    <a:pt x="362409" y="198751"/>
                  </a:lnTo>
                  <a:cubicBezTo>
                    <a:pt x="372147" y="189009"/>
                    <a:pt x="375263" y="172641"/>
                    <a:pt x="375263" y="159391"/>
                  </a:cubicBezTo>
                  <a:cubicBezTo>
                    <a:pt x="375263" y="159391"/>
                    <a:pt x="375263" y="159391"/>
                    <a:pt x="531841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/>
            <a:extLst>
              <a:ext uri="{91240B29-F687-4f45-9708-019B960494DF}">
                <a14:hiddenLine xmlns:a16="http://schemas.microsoft.com/office/drawing/2014/main" xmlns:p14="http://schemas.microsoft.com/office/powerpoint/2010/main" xmlns:a14="http://schemas.microsoft.com/office/drawing/2010/main" xmlns:lc="http://schemas.openxmlformats.org/drawingml/2006/lockedCanvas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6="http://schemas.microsoft.com/office/drawing/2014/main" xmlns:p14="http://schemas.microsoft.com/office/powerpoint/2010/main" xmlns:a14="http://schemas.microsoft.com/office/drawing/2010/main" xmlns:lc="http://schemas.openxmlformats.org/drawingml/2006/lockedCanvas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" name="îšľîďê">
              <a:extLst>
                <a:ext uri="{FF2B5EF4-FFF2-40B4-BE49-F238E27FC236}">
                  <a16:creationId xmlns:a16="http://schemas.microsoft.com/office/drawing/2014/main" id="{7F3B4D21-1B13-4BE1-9D16-BD2D95AA04DA}"/>
                </a:ext>
              </a:extLst>
            </p:cNvPr>
            <p:cNvSpPr/>
            <p:nvPr/>
          </p:nvSpPr>
          <p:spPr bwMode="auto">
            <a:xfrm>
              <a:off x="5429724" y="3563575"/>
              <a:ext cx="296981" cy="269151"/>
            </a:xfrm>
            <a:custGeom>
              <a:avLst/>
              <a:gdLst>
                <a:gd name="connsiteX0" fmla="*/ 496512 w 622984"/>
                <a:gd name="connsiteY0" fmla="*/ 492841 h 564606"/>
                <a:gd name="connsiteX1" fmla="*/ 473955 w 622984"/>
                <a:gd name="connsiteY1" fmla="*/ 515853 h 564606"/>
                <a:gd name="connsiteX2" fmla="*/ 496512 w 622984"/>
                <a:gd name="connsiteY2" fmla="*/ 535354 h 564606"/>
                <a:gd name="connsiteX3" fmla="*/ 519457 w 622984"/>
                <a:gd name="connsiteY3" fmla="*/ 515853 h 564606"/>
                <a:gd name="connsiteX4" fmla="*/ 496512 w 622984"/>
                <a:gd name="connsiteY4" fmla="*/ 492841 h 564606"/>
                <a:gd name="connsiteX5" fmla="*/ 249694 w 622984"/>
                <a:gd name="connsiteY5" fmla="*/ 352049 h 564606"/>
                <a:gd name="connsiteX6" fmla="*/ 272741 w 622984"/>
                <a:gd name="connsiteY6" fmla="*/ 374570 h 564606"/>
                <a:gd name="connsiteX7" fmla="*/ 171569 w 622984"/>
                <a:gd name="connsiteY7" fmla="*/ 475137 h 564606"/>
                <a:gd name="connsiteX8" fmla="*/ 177819 w 622984"/>
                <a:gd name="connsiteY8" fmla="*/ 481738 h 564606"/>
                <a:gd name="connsiteX9" fmla="*/ 155163 w 622984"/>
                <a:gd name="connsiteY9" fmla="*/ 510860 h 564606"/>
                <a:gd name="connsiteX10" fmla="*/ 73522 w 622984"/>
                <a:gd name="connsiteY10" fmla="*/ 562891 h 564606"/>
                <a:gd name="connsiteX11" fmla="*/ 60241 w 622984"/>
                <a:gd name="connsiteY11" fmla="*/ 550077 h 564606"/>
                <a:gd name="connsiteX12" fmla="*/ 112585 w 622984"/>
                <a:gd name="connsiteY12" fmla="*/ 468925 h 564606"/>
                <a:gd name="connsiteX13" fmla="*/ 141882 w 622984"/>
                <a:gd name="connsiteY13" fmla="*/ 446015 h 564606"/>
                <a:gd name="connsiteX14" fmla="*/ 148522 w 622984"/>
                <a:gd name="connsiteY14" fmla="*/ 452616 h 564606"/>
                <a:gd name="connsiteX15" fmla="*/ 122234 w 622984"/>
                <a:gd name="connsiteY15" fmla="*/ 15041 h 564606"/>
                <a:gd name="connsiteX16" fmla="*/ 210667 w 622984"/>
                <a:gd name="connsiteY16" fmla="*/ 52502 h 564606"/>
                <a:gd name="connsiteX17" fmla="*/ 242946 w 622984"/>
                <a:gd name="connsiteY17" fmla="*/ 173410 h 564606"/>
                <a:gd name="connsiteX18" fmla="*/ 532291 w 622984"/>
                <a:gd name="connsiteY18" fmla="*/ 463589 h 564606"/>
                <a:gd name="connsiteX19" fmla="*/ 532291 w 622984"/>
                <a:gd name="connsiteY19" fmla="*/ 545105 h 564606"/>
                <a:gd name="connsiteX20" fmla="*/ 493400 w 622984"/>
                <a:gd name="connsiteY20" fmla="*/ 564606 h 564606"/>
                <a:gd name="connsiteX21" fmla="*/ 451010 w 622984"/>
                <a:gd name="connsiteY21" fmla="*/ 545105 h 564606"/>
                <a:gd name="connsiteX22" fmla="*/ 161665 w 622984"/>
                <a:gd name="connsiteY22" fmla="*/ 258046 h 564606"/>
                <a:gd name="connsiteX23" fmla="*/ 34882 w 622984"/>
                <a:gd name="connsiteY23" fmla="*/ 225674 h 564606"/>
                <a:gd name="connsiteX24" fmla="*/ 5715 w 622984"/>
                <a:gd name="connsiteY24" fmla="*/ 104766 h 564606"/>
                <a:gd name="connsiteX25" fmla="*/ 74162 w 622984"/>
                <a:gd name="connsiteY25" fmla="*/ 176530 h 564606"/>
                <a:gd name="connsiteX26" fmla="*/ 142220 w 622984"/>
                <a:gd name="connsiteY26" fmla="*/ 157029 h 564606"/>
                <a:gd name="connsiteX27" fmla="*/ 161665 w 622984"/>
                <a:gd name="connsiteY27" fmla="*/ 88385 h 564606"/>
                <a:gd name="connsiteX28" fmla="*/ 90107 w 622984"/>
                <a:gd name="connsiteY28" fmla="*/ 20130 h 564606"/>
                <a:gd name="connsiteX29" fmla="*/ 122234 w 622984"/>
                <a:gd name="connsiteY29" fmla="*/ 15041 h 564606"/>
                <a:gd name="connsiteX30" fmla="*/ 531841 w 622984"/>
                <a:gd name="connsiteY30" fmla="*/ 0 h 564606"/>
                <a:gd name="connsiteX31" fmla="*/ 622984 w 622984"/>
                <a:gd name="connsiteY31" fmla="*/ 87684 h 564606"/>
                <a:gd name="connsiteX32" fmla="*/ 463289 w 622984"/>
                <a:gd name="connsiteY32" fmla="*/ 247465 h 564606"/>
                <a:gd name="connsiteX33" fmla="*/ 424339 w 622984"/>
                <a:gd name="connsiteY33" fmla="*/ 257207 h 564606"/>
                <a:gd name="connsiteX34" fmla="*/ 362409 w 622984"/>
                <a:gd name="connsiteY34" fmla="*/ 198751 h 564606"/>
                <a:gd name="connsiteX35" fmla="*/ 375263 w 622984"/>
                <a:gd name="connsiteY35" fmla="*/ 159391 h 564606"/>
                <a:gd name="connsiteX36" fmla="*/ 531841 w 622984"/>
                <a:gd name="connsiteY36" fmla="*/ 0 h 56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622984" h="564606">
                  <a:moveTo>
                    <a:pt x="496512" y="492841"/>
                  </a:moveTo>
                  <a:cubicBezTo>
                    <a:pt x="483678" y="492841"/>
                    <a:pt x="473955" y="502592"/>
                    <a:pt x="473955" y="515853"/>
                  </a:cubicBezTo>
                  <a:cubicBezTo>
                    <a:pt x="473955" y="525604"/>
                    <a:pt x="483678" y="535354"/>
                    <a:pt x="496512" y="535354"/>
                  </a:cubicBezTo>
                  <a:cubicBezTo>
                    <a:pt x="509734" y="535354"/>
                    <a:pt x="519457" y="525604"/>
                    <a:pt x="519457" y="515853"/>
                  </a:cubicBezTo>
                  <a:cubicBezTo>
                    <a:pt x="519457" y="502592"/>
                    <a:pt x="509734" y="492841"/>
                    <a:pt x="496512" y="492841"/>
                  </a:cubicBezTo>
                  <a:close/>
                  <a:moveTo>
                    <a:pt x="249694" y="352049"/>
                  </a:moveTo>
                  <a:lnTo>
                    <a:pt x="272741" y="374570"/>
                  </a:lnTo>
                  <a:lnTo>
                    <a:pt x="171569" y="475137"/>
                  </a:lnTo>
                  <a:lnTo>
                    <a:pt x="177819" y="481738"/>
                  </a:lnTo>
                  <a:lnTo>
                    <a:pt x="155163" y="510860"/>
                  </a:lnTo>
                  <a:lnTo>
                    <a:pt x="73522" y="562891"/>
                  </a:lnTo>
                  <a:lnTo>
                    <a:pt x="60241" y="550077"/>
                  </a:lnTo>
                  <a:lnTo>
                    <a:pt x="112585" y="468925"/>
                  </a:lnTo>
                  <a:lnTo>
                    <a:pt x="141882" y="446015"/>
                  </a:lnTo>
                  <a:lnTo>
                    <a:pt x="148522" y="452616"/>
                  </a:lnTo>
                  <a:close/>
                  <a:moveTo>
                    <a:pt x="122234" y="15041"/>
                  </a:moveTo>
                  <a:cubicBezTo>
                    <a:pt x="154446" y="14694"/>
                    <a:pt x="186166" y="28223"/>
                    <a:pt x="210667" y="52502"/>
                  </a:cubicBezTo>
                  <a:cubicBezTo>
                    <a:pt x="242946" y="85264"/>
                    <a:pt x="256169" y="130897"/>
                    <a:pt x="242946" y="173410"/>
                  </a:cubicBezTo>
                  <a:lnTo>
                    <a:pt x="532291" y="463589"/>
                  </a:lnTo>
                  <a:cubicBezTo>
                    <a:pt x="555236" y="486211"/>
                    <a:pt x="555236" y="522093"/>
                    <a:pt x="532291" y="545105"/>
                  </a:cubicBezTo>
                  <a:cubicBezTo>
                    <a:pt x="522568" y="557976"/>
                    <a:pt x="506234" y="564606"/>
                    <a:pt x="493400" y="564606"/>
                  </a:cubicBezTo>
                  <a:cubicBezTo>
                    <a:pt x="477066" y="564606"/>
                    <a:pt x="460733" y="557976"/>
                    <a:pt x="451010" y="545105"/>
                  </a:cubicBezTo>
                  <a:cubicBezTo>
                    <a:pt x="451010" y="545105"/>
                    <a:pt x="451010" y="545105"/>
                    <a:pt x="161665" y="258046"/>
                  </a:cubicBezTo>
                  <a:cubicBezTo>
                    <a:pt x="119275" y="270917"/>
                    <a:pt x="70662" y="261556"/>
                    <a:pt x="34882" y="225674"/>
                  </a:cubicBezTo>
                  <a:cubicBezTo>
                    <a:pt x="2215" y="192911"/>
                    <a:pt x="-7508" y="147278"/>
                    <a:pt x="5715" y="104766"/>
                  </a:cubicBezTo>
                  <a:cubicBezTo>
                    <a:pt x="5715" y="104766"/>
                    <a:pt x="5715" y="104766"/>
                    <a:pt x="74162" y="176530"/>
                  </a:cubicBezTo>
                  <a:cubicBezTo>
                    <a:pt x="74162" y="176530"/>
                    <a:pt x="74162" y="176530"/>
                    <a:pt x="142220" y="157029"/>
                  </a:cubicBezTo>
                  <a:cubicBezTo>
                    <a:pt x="142220" y="157029"/>
                    <a:pt x="142220" y="157029"/>
                    <a:pt x="161665" y="88385"/>
                  </a:cubicBezTo>
                  <a:cubicBezTo>
                    <a:pt x="161665" y="88385"/>
                    <a:pt x="161665" y="88385"/>
                    <a:pt x="90107" y="20130"/>
                  </a:cubicBezTo>
                  <a:cubicBezTo>
                    <a:pt x="100704" y="16815"/>
                    <a:pt x="111497" y="15157"/>
                    <a:pt x="122234" y="15041"/>
                  </a:cubicBezTo>
                  <a:close/>
                  <a:moveTo>
                    <a:pt x="531841" y="0"/>
                  </a:moveTo>
                  <a:cubicBezTo>
                    <a:pt x="531841" y="0"/>
                    <a:pt x="531841" y="0"/>
                    <a:pt x="622984" y="87684"/>
                  </a:cubicBezTo>
                  <a:cubicBezTo>
                    <a:pt x="622984" y="87684"/>
                    <a:pt x="622984" y="87684"/>
                    <a:pt x="463289" y="247465"/>
                  </a:cubicBezTo>
                  <a:cubicBezTo>
                    <a:pt x="450436" y="247465"/>
                    <a:pt x="434077" y="250582"/>
                    <a:pt x="424339" y="257207"/>
                  </a:cubicBezTo>
                  <a:lnTo>
                    <a:pt x="362409" y="198751"/>
                  </a:lnTo>
                  <a:cubicBezTo>
                    <a:pt x="372147" y="189009"/>
                    <a:pt x="375263" y="172641"/>
                    <a:pt x="375263" y="159391"/>
                  </a:cubicBezTo>
                  <a:cubicBezTo>
                    <a:pt x="375263" y="159391"/>
                    <a:pt x="375263" y="159391"/>
                    <a:pt x="531841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/>
            <a:extLst>
              <a:ext uri="{91240B29-F687-4f45-9708-019B960494DF}">
                <a14:hiddenLine xmlns:a16="http://schemas.microsoft.com/office/drawing/2014/main" xmlns:p14="http://schemas.microsoft.com/office/powerpoint/2010/main" xmlns:a14="http://schemas.microsoft.com/office/drawing/2010/main" xmlns:lc="http://schemas.openxmlformats.org/drawingml/2006/lockedCanvas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6="http://schemas.microsoft.com/office/drawing/2014/main" xmlns:p14="http://schemas.microsoft.com/office/powerpoint/2010/main" xmlns:a14="http://schemas.microsoft.com/office/drawing/2010/main" xmlns:lc="http://schemas.openxmlformats.org/drawingml/2006/lockedCanvas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" name="íSľíḍê">
              <a:extLst>
                <a:ext uri="{FF2B5EF4-FFF2-40B4-BE49-F238E27FC236}">
                  <a16:creationId xmlns:a16="http://schemas.microsoft.com/office/drawing/2014/main" id="{CA3B808A-4546-4FF4-913A-1E2F074690B4}"/>
                </a:ext>
              </a:extLst>
            </p:cNvPr>
            <p:cNvSpPr/>
            <p:nvPr/>
          </p:nvSpPr>
          <p:spPr bwMode="auto">
            <a:xfrm>
              <a:off x="3914649" y="2696656"/>
              <a:ext cx="296981" cy="269151"/>
            </a:xfrm>
            <a:custGeom>
              <a:avLst/>
              <a:gdLst>
                <a:gd name="connsiteX0" fmla="*/ 496512 w 622984"/>
                <a:gd name="connsiteY0" fmla="*/ 492841 h 564606"/>
                <a:gd name="connsiteX1" fmla="*/ 473955 w 622984"/>
                <a:gd name="connsiteY1" fmla="*/ 515853 h 564606"/>
                <a:gd name="connsiteX2" fmla="*/ 496512 w 622984"/>
                <a:gd name="connsiteY2" fmla="*/ 535354 h 564606"/>
                <a:gd name="connsiteX3" fmla="*/ 519457 w 622984"/>
                <a:gd name="connsiteY3" fmla="*/ 515853 h 564606"/>
                <a:gd name="connsiteX4" fmla="*/ 496512 w 622984"/>
                <a:gd name="connsiteY4" fmla="*/ 492841 h 564606"/>
                <a:gd name="connsiteX5" fmla="*/ 249694 w 622984"/>
                <a:gd name="connsiteY5" fmla="*/ 352049 h 564606"/>
                <a:gd name="connsiteX6" fmla="*/ 272741 w 622984"/>
                <a:gd name="connsiteY6" fmla="*/ 374570 h 564606"/>
                <a:gd name="connsiteX7" fmla="*/ 171569 w 622984"/>
                <a:gd name="connsiteY7" fmla="*/ 475137 h 564606"/>
                <a:gd name="connsiteX8" fmla="*/ 177819 w 622984"/>
                <a:gd name="connsiteY8" fmla="*/ 481738 h 564606"/>
                <a:gd name="connsiteX9" fmla="*/ 155163 w 622984"/>
                <a:gd name="connsiteY9" fmla="*/ 510860 h 564606"/>
                <a:gd name="connsiteX10" fmla="*/ 73522 w 622984"/>
                <a:gd name="connsiteY10" fmla="*/ 562891 h 564606"/>
                <a:gd name="connsiteX11" fmla="*/ 60241 w 622984"/>
                <a:gd name="connsiteY11" fmla="*/ 550077 h 564606"/>
                <a:gd name="connsiteX12" fmla="*/ 112585 w 622984"/>
                <a:gd name="connsiteY12" fmla="*/ 468925 h 564606"/>
                <a:gd name="connsiteX13" fmla="*/ 141882 w 622984"/>
                <a:gd name="connsiteY13" fmla="*/ 446015 h 564606"/>
                <a:gd name="connsiteX14" fmla="*/ 148522 w 622984"/>
                <a:gd name="connsiteY14" fmla="*/ 452616 h 564606"/>
                <a:gd name="connsiteX15" fmla="*/ 122234 w 622984"/>
                <a:gd name="connsiteY15" fmla="*/ 15041 h 564606"/>
                <a:gd name="connsiteX16" fmla="*/ 210667 w 622984"/>
                <a:gd name="connsiteY16" fmla="*/ 52502 h 564606"/>
                <a:gd name="connsiteX17" fmla="*/ 242946 w 622984"/>
                <a:gd name="connsiteY17" fmla="*/ 173410 h 564606"/>
                <a:gd name="connsiteX18" fmla="*/ 532291 w 622984"/>
                <a:gd name="connsiteY18" fmla="*/ 463589 h 564606"/>
                <a:gd name="connsiteX19" fmla="*/ 532291 w 622984"/>
                <a:gd name="connsiteY19" fmla="*/ 545105 h 564606"/>
                <a:gd name="connsiteX20" fmla="*/ 493400 w 622984"/>
                <a:gd name="connsiteY20" fmla="*/ 564606 h 564606"/>
                <a:gd name="connsiteX21" fmla="*/ 451010 w 622984"/>
                <a:gd name="connsiteY21" fmla="*/ 545105 h 564606"/>
                <a:gd name="connsiteX22" fmla="*/ 161665 w 622984"/>
                <a:gd name="connsiteY22" fmla="*/ 258046 h 564606"/>
                <a:gd name="connsiteX23" fmla="*/ 34882 w 622984"/>
                <a:gd name="connsiteY23" fmla="*/ 225674 h 564606"/>
                <a:gd name="connsiteX24" fmla="*/ 5715 w 622984"/>
                <a:gd name="connsiteY24" fmla="*/ 104766 h 564606"/>
                <a:gd name="connsiteX25" fmla="*/ 74162 w 622984"/>
                <a:gd name="connsiteY25" fmla="*/ 176530 h 564606"/>
                <a:gd name="connsiteX26" fmla="*/ 142220 w 622984"/>
                <a:gd name="connsiteY26" fmla="*/ 157029 h 564606"/>
                <a:gd name="connsiteX27" fmla="*/ 161665 w 622984"/>
                <a:gd name="connsiteY27" fmla="*/ 88385 h 564606"/>
                <a:gd name="connsiteX28" fmla="*/ 90107 w 622984"/>
                <a:gd name="connsiteY28" fmla="*/ 20130 h 564606"/>
                <a:gd name="connsiteX29" fmla="*/ 122234 w 622984"/>
                <a:gd name="connsiteY29" fmla="*/ 15041 h 564606"/>
                <a:gd name="connsiteX30" fmla="*/ 531841 w 622984"/>
                <a:gd name="connsiteY30" fmla="*/ 0 h 564606"/>
                <a:gd name="connsiteX31" fmla="*/ 622984 w 622984"/>
                <a:gd name="connsiteY31" fmla="*/ 87684 h 564606"/>
                <a:gd name="connsiteX32" fmla="*/ 463289 w 622984"/>
                <a:gd name="connsiteY32" fmla="*/ 247465 h 564606"/>
                <a:gd name="connsiteX33" fmla="*/ 424339 w 622984"/>
                <a:gd name="connsiteY33" fmla="*/ 257207 h 564606"/>
                <a:gd name="connsiteX34" fmla="*/ 362409 w 622984"/>
                <a:gd name="connsiteY34" fmla="*/ 198751 h 564606"/>
                <a:gd name="connsiteX35" fmla="*/ 375263 w 622984"/>
                <a:gd name="connsiteY35" fmla="*/ 159391 h 564606"/>
                <a:gd name="connsiteX36" fmla="*/ 531841 w 622984"/>
                <a:gd name="connsiteY36" fmla="*/ 0 h 56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622984" h="564606">
                  <a:moveTo>
                    <a:pt x="496512" y="492841"/>
                  </a:moveTo>
                  <a:cubicBezTo>
                    <a:pt x="483678" y="492841"/>
                    <a:pt x="473955" y="502592"/>
                    <a:pt x="473955" y="515853"/>
                  </a:cubicBezTo>
                  <a:cubicBezTo>
                    <a:pt x="473955" y="525604"/>
                    <a:pt x="483678" y="535354"/>
                    <a:pt x="496512" y="535354"/>
                  </a:cubicBezTo>
                  <a:cubicBezTo>
                    <a:pt x="509734" y="535354"/>
                    <a:pt x="519457" y="525604"/>
                    <a:pt x="519457" y="515853"/>
                  </a:cubicBezTo>
                  <a:cubicBezTo>
                    <a:pt x="519457" y="502592"/>
                    <a:pt x="509734" y="492841"/>
                    <a:pt x="496512" y="492841"/>
                  </a:cubicBezTo>
                  <a:close/>
                  <a:moveTo>
                    <a:pt x="249694" y="352049"/>
                  </a:moveTo>
                  <a:lnTo>
                    <a:pt x="272741" y="374570"/>
                  </a:lnTo>
                  <a:lnTo>
                    <a:pt x="171569" y="475137"/>
                  </a:lnTo>
                  <a:lnTo>
                    <a:pt x="177819" y="481738"/>
                  </a:lnTo>
                  <a:lnTo>
                    <a:pt x="155163" y="510860"/>
                  </a:lnTo>
                  <a:lnTo>
                    <a:pt x="73522" y="562891"/>
                  </a:lnTo>
                  <a:lnTo>
                    <a:pt x="60241" y="550077"/>
                  </a:lnTo>
                  <a:lnTo>
                    <a:pt x="112585" y="468925"/>
                  </a:lnTo>
                  <a:lnTo>
                    <a:pt x="141882" y="446015"/>
                  </a:lnTo>
                  <a:lnTo>
                    <a:pt x="148522" y="452616"/>
                  </a:lnTo>
                  <a:close/>
                  <a:moveTo>
                    <a:pt x="122234" y="15041"/>
                  </a:moveTo>
                  <a:cubicBezTo>
                    <a:pt x="154446" y="14694"/>
                    <a:pt x="186166" y="28223"/>
                    <a:pt x="210667" y="52502"/>
                  </a:cubicBezTo>
                  <a:cubicBezTo>
                    <a:pt x="242946" y="85264"/>
                    <a:pt x="256169" y="130897"/>
                    <a:pt x="242946" y="173410"/>
                  </a:cubicBezTo>
                  <a:lnTo>
                    <a:pt x="532291" y="463589"/>
                  </a:lnTo>
                  <a:cubicBezTo>
                    <a:pt x="555236" y="486211"/>
                    <a:pt x="555236" y="522093"/>
                    <a:pt x="532291" y="545105"/>
                  </a:cubicBezTo>
                  <a:cubicBezTo>
                    <a:pt x="522568" y="557976"/>
                    <a:pt x="506234" y="564606"/>
                    <a:pt x="493400" y="564606"/>
                  </a:cubicBezTo>
                  <a:cubicBezTo>
                    <a:pt x="477066" y="564606"/>
                    <a:pt x="460733" y="557976"/>
                    <a:pt x="451010" y="545105"/>
                  </a:cubicBezTo>
                  <a:cubicBezTo>
                    <a:pt x="451010" y="545105"/>
                    <a:pt x="451010" y="545105"/>
                    <a:pt x="161665" y="258046"/>
                  </a:cubicBezTo>
                  <a:cubicBezTo>
                    <a:pt x="119275" y="270917"/>
                    <a:pt x="70662" y="261556"/>
                    <a:pt x="34882" y="225674"/>
                  </a:cubicBezTo>
                  <a:cubicBezTo>
                    <a:pt x="2215" y="192911"/>
                    <a:pt x="-7508" y="147278"/>
                    <a:pt x="5715" y="104766"/>
                  </a:cubicBezTo>
                  <a:cubicBezTo>
                    <a:pt x="5715" y="104766"/>
                    <a:pt x="5715" y="104766"/>
                    <a:pt x="74162" y="176530"/>
                  </a:cubicBezTo>
                  <a:cubicBezTo>
                    <a:pt x="74162" y="176530"/>
                    <a:pt x="74162" y="176530"/>
                    <a:pt x="142220" y="157029"/>
                  </a:cubicBezTo>
                  <a:cubicBezTo>
                    <a:pt x="142220" y="157029"/>
                    <a:pt x="142220" y="157029"/>
                    <a:pt x="161665" y="88385"/>
                  </a:cubicBezTo>
                  <a:cubicBezTo>
                    <a:pt x="161665" y="88385"/>
                    <a:pt x="161665" y="88385"/>
                    <a:pt x="90107" y="20130"/>
                  </a:cubicBezTo>
                  <a:cubicBezTo>
                    <a:pt x="100704" y="16815"/>
                    <a:pt x="111497" y="15157"/>
                    <a:pt x="122234" y="15041"/>
                  </a:cubicBezTo>
                  <a:close/>
                  <a:moveTo>
                    <a:pt x="531841" y="0"/>
                  </a:moveTo>
                  <a:cubicBezTo>
                    <a:pt x="531841" y="0"/>
                    <a:pt x="531841" y="0"/>
                    <a:pt x="622984" y="87684"/>
                  </a:cubicBezTo>
                  <a:cubicBezTo>
                    <a:pt x="622984" y="87684"/>
                    <a:pt x="622984" y="87684"/>
                    <a:pt x="463289" y="247465"/>
                  </a:cubicBezTo>
                  <a:cubicBezTo>
                    <a:pt x="450436" y="247465"/>
                    <a:pt x="434077" y="250582"/>
                    <a:pt x="424339" y="257207"/>
                  </a:cubicBezTo>
                  <a:lnTo>
                    <a:pt x="362409" y="198751"/>
                  </a:lnTo>
                  <a:cubicBezTo>
                    <a:pt x="372147" y="189009"/>
                    <a:pt x="375263" y="172641"/>
                    <a:pt x="375263" y="159391"/>
                  </a:cubicBezTo>
                  <a:cubicBezTo>
                    <a:pt x="375263" y="159391"/>
                    <a:pt x="375263" y="159391"/>
                    <a:pt x="531841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/>
            <a:extLst>
              <a:ext uri="{91240B29-F687-4f45-9708-019B960494DF}">
                <a14:hiddenLine xmlns:a16="http://schemas.microsoft.com/office/drawing/2014/main" xmlns:p14="http://schemas.microsoft.com/office/powerpoint/2010/main" xmlns:a14="http://schemas.microsoft.com/office/drawing/2010/main" xmlns:lc="http://schemas.openxmlformats.org/drawingml/2006/lockedCanvas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6="http://schemas.microsoft.com/office/drawing/2014/main" xmlns:p14="http://schemas.microsoft.com/office/powerpoint/2010/main" xmlns:a14="http://schemas.microsoft.com/office/drawing/2010/main" xmlns:lc="http://schemas.openxmlformats.org/drawingml/2006/lockedCanvas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" name="ïŝľíḍè">
              <a:extLst>
                <a:ext uri="{FF2B5EF4-FFF2-40B4-BE49-F238E27FC236}">
                  <a16:creationId xmlns:a16="http://schemas.microsoft.com/office/drawing/2014/main" id="{C246628A-1A16-47ED-8844-1A5B35E6B842}"/>
                </a:ext>
              </a:extLst>
            </p:cNvPr>
            <p:cNvSpPr/>
            <p:nvPr/>
          </p:nvSpPr>
          <p:spPr bwMode="auto">
            <a:xfrm>
              <a:off x="6314785" y="2696656"/>
              <a:ext cx="296981" cy="269151"/>
            </a:xfrm>
            <a:custGeom>
              <a:avLst/>
              <a:gdLst>
                <a:gd name="connsiteX0" fmla="*/ 496512 w 622984"/>
                <a:gd name="connsiteY0" fmla="*/ 492841 h 564606"/>
                <a:gd name="connsiteX1" fmla="*/ 473955 w 622984"/>
                <a:gd name="connsiteY1" fmla="*/ 515853 h 564606"/>
                <a:gd name="connsiteX2" fmla="*/ 496512 w 622984"/>
                <a:gd name="connsiteY2" fmla="*/ 535354 h 564606"/>
                <a:gd name="connsiteX3" fmla="*/ 519457 w 622984"/>
                <a:gd name="connsiteY3" fmla="*/ 515853 h 564606"/>
                <a:gd name="connsiteX4" fmla="*/ 496512 w 622984"/>
                <a:gd name="connsiteY4" fmla="*/ 492841 h 564606"/>
                <a:gd name="connsiteX5" fmla="*/ 249694 w 622984"/>
                <a:gd name="connsiteY5" fmla="*/ 352049 h 564606"/>
                <a:gd name="connsiteX6" fmla="*/ 272741 w 622984"/>
                <a:gd name="connsiteY6" fmla="*/ 374570 h 564606"/>
                <a:gd name="connsiteX7" fmla="*/ 171569 w 622984"/>
                <a:gd name="connsiteY7" fmla="*/ 475137 h 564606"/>
                <a:gd name="connsiteX8" fmla="*/ 177819 w 622984"/>
                <a:gd name="connsiteY8" fmla="*/ 481738 h 564606"/>
                <a:gd name="connsiteX9" fmla="*/ 155163 w 622984"/>
                <a:gd name="connsiteY9" fmla="*/ 510860 h 564606"/>
                <a:gd name="connsiteX10" fmla="*/ 73522 w 622984"/>
                <a:gd name="connsiteY10" fmla="*/ 562891 h 564606"/>
                <a:gd name="connsiteX11" fmla="*/ 60241 w 622984"/>
                <a:gd name="connsiteY11" fmla="*/ 550077 h 564606"/>
                <a:gd name="connsiteX12" fmla="*/ 112585 w 622984"/>
                <a:gd name="connsiteY12" fmla="*/ 468925 h 564606"/>
                <a:gd name="connsiteX13" fmla="*/ 141882 w 622984"/>
                <a:gd name="connsiteY13" fmla="*/ 446015 h 564606"/>
                <a:gd name="connsiteX14" fmla="*/ 148522 w 622984"/>
                <a:gd name="connsiteY14" fmla="*/ 452616 h 564606"/>
                <a:gd name="connsiteX15" fmla="*/ 122234 w 622984"/>
                <a:gd name="connsiteY15" fmla="*/ 15041 h 564606"/>
                <a:gd name="connsiteX16" fmla="*/ 210667 w 622984"/>
                <a:gd name="connsiteY16" fmla="*/ 52502 h 564606"/>
                <a:gd name="connsiteX17" fmla="*/ 242946 w 622984"/>
                <a:gd name="connsiteY17" fmla="*/ 173410 h 564606"/>
                <a:gd name="connsiteX18" fmla="*/ 532291 w 622984"/>
                <a:gd name="connsiteY18" fmla="*/ 463589 h 564606"/>
                <a:gd name="connsiteX19" fmla="*/ 532291 w 622984"/>
                <a:gd name="connsiteY19" fmla="*/ 545105 h 564606"/>
                <a:gd name="connsiteX20" fmla="*/ 493400 w 622984"/>
                <a:gd name="connsiteY20" fmla="*/ 564606 h 564606"/>
                <a:gd name="connsiteX21" fmla="*/ 451010 w 622984"/>
                <a:gd name="connsiteY21" fmla="*/ 545105 h 564606"/>
                <a:gd name="connsiteX22" fmla="*/ 161665 w 622984"/>
                <a:gd name="connsiteY22" fmla="*/ 258046 h 564606"/>
                <a:gd name="connsiteX23" fmla="*/ 34882 w 622984"/>
                <a:gd name="connsiteY23" fmla="*/ 225674 h 564606"/>
                <a:gd name="connsiteX24" fmla="*/ 5715 w 622984"/>
                <a:gd name="connsiteY24" fmla="*/ 104766 h 564606"/>
                <a:gd name="connsiteX25" fmla="*/ 74162 w 622984"/>
                <a:gd name="connsiteY25" fmla="*/ 176530 h 564606"/>
                <a:gd name="connsiteX26" fmla="*/ 142220 w 622984"/>
                <a:gd name="connsiteY26" fmla="*/ 157029 h 564606"/>
                <a:gd name="connsiteX27" fmla="*/ 161665 w 622984"/>
                <a:gd name="connsiteY27" fmla="*/ 88385 h 564606"/>
                <a:gd name="connsiteX28" fmla="*/ 90107 w 622984"/>
                <a:gd name="connsiteY28" fmla="*/ 20130 h 564606"/>
                <a:gd name="connsiteX29" fmla="*/ 122234 w 622984"/>
                <a:gd name="connsiteY29" fmla="*/ 15041 h 564606"/>
                <a:gd name="connsiteX30" fmla="*/ 531841 w 622984"/>
                <a:gd name="connsiteY30" fmla="*/ 0 h 564606"/>
                <a:gd name="connsiteX31" fmla="*/ 622984 w 622984"/>
                <a:gd name="connsiteY31" fmla="*/ 87684 h 564606"/>
                <a:gd name="connsiteX32" fmla="*/ 463289 w 622984"/>
                <a:gd name="connsiteY32" fmla="*/ 247465 h 564606"/>
                <a:gd name="connsiteX33" fmla="*/ 424339 w 622984"/>
                <a:gd name="connsiteY33" fmla="*/ 257207 h 564606"/>
                <a:gd name="connsiteX34" fmla="*/ 362409 w 622984"/>
                <a:gd name="connsiteY34" fmla="*/ 198751 h 564606"/>
                <a:gd name="connsiteX35" fmla="*/ 375263 w 622984"/>
                <a:gd name="connsiteY35" fmla="*/ 159391 h 564606"/>
                <a:gd name="connsiteX36" fmla="*/ 531841 w 622984"/>
                <a:gd name="connsiteY36" fmla="*/ 0 h 56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622984" h="564606">
                  <a:moveTo>
                    <a:pt x="496512" y="492841"/>
                  </a:moveTo>
                  <a:cubicBezTo>
                    <a:pt x="483678" y="492841"/>
                    <a:pt x="473955" y="502592"/>
                    <a:pt x="473955" y="515853"/>
                  </a:cubicBezTo>
                  <a:cubicBezTo>
                    <a:pt x="473955" y="525604"/>
                    <a:pt x="483678" y="535354"/>
                    <a:pt x="496512" y="535354"/>
                  </a:cubicBezTo>
                  <a:cubicBezTo>
                    <a:pt x="509734" y="535354"/>
                    <a:pt x="519457" y="525604"/>
                    <a:pt x="519457" y="515853"/>
                  </a:cubicBezTo>
                  <a:cubicBezTo>
                    <a:pt x="519457" y="502592"/>
                    <a:pt x="509734" y="492841"/>
                    <a:pt x="496512" y="492841"/>
                  </a:cubicBezTo>
                  <a:close/>
                  <a:moveTo>
                    <a:pt x="249694" y="352049"/>
                  </a:moveTo>
                  <a:lnTo>
                    <a:pt x="272741" y="374570"/>
                  </a:lnTo>
                  <a:lnTo>
                    <a:pt x="171569" y="475137"/>
                  </a:lnTo>
                  <a:lnTo>
                    <a:pt x="177819" y="481738"/>
                  </a:lnTo>
                  <a:lnTo>
                    <a:pt x="155163" y="510860"/>
                  </a:lnTo>
                  <a:lnTo>
                    <a:pt x="73522" y="562891"/>
                  </a:lnTo>
                  <a:lnTo>
                    <a:pt x="60241" y="550077"/>
                  </a:lnTo>
                  <a:lnTo>
                    <a:pt x="112585" y="468925"/>
                  </a:lnTo>
                  <a:lnTo>
                    <a:pt x="141882" y="446015"/>
                  </a:lnTo>
                  <a:lnTo>
                    <a:pt x="148522" y="452616"/>
                  </a:lnTo>
                  <a:close/>
                  <a:moveTo>
                    <a:pt x="122234" y="15041"/>
                  </a:moveTo>
                  <a:cubicBezTo>
                    <a:pt x="154446" y="14694"/>
                    <a:pt x="186166" y="28223"/>
                    <a:pt x="210667" y="52502"/>
                  </a:cubicBezTo>
                  <a:cubicBezTo>
                    <a:pt x="242946" y="85264"/>
                    <a:pt x="256169" y="130897"/>
                    <a:pt x="242946" y="173410"/>
                  </a:cubicBezTo>
                  <a:lnTo>
                    <a:pt x="532291" y="463589"/>
                  </a:lnTo>
                  <a:cubicBezTo>
                    <a:pt x="555236" y="486211"/>
                    <a:pt x="555236" y="522093"/>
                    <a:pt x="532291" y="545105"/>
                  </a:cubicBezTo>
                  <a:cubicBezTo>
                    <a:pt x="522568" y="557976"/>
                    <a:pt x="506234" y="564606"/>
                    <a:pt x="493400" y="564606"/>
                  </a:cubicBezTo>
                  <a:cubicBezTo>
                    <a:pt x="477066" y="564606"/>
                    <a:pt x="460733" y="557976"/>
                    <a:pt x="451010" y="545105"/>
                  </a:cubicBezTo>
                  <a:cubicBezTo>
                    <a:pt x="451010" y="545105"/>
                    <a:pt x="451010" y="545105"/>
                    <a:pt x="161665" y="258046"/>
                  </a:cubicBezTo>
                  <a:cubicBezTo>
                    <a:pt x="119275" y="270917"/>
                    <a:pt x="70662" y="261556"/>
                    <a:pt x="34882" y="225674"/>
                  </a:cubicBezTo>
                  <a:cubicBezTo>
                    <a:pt x="2215" y="192911"/>
                    <a:pt x="-7508" y="147278"/>
                    <a:pt x="5715" y="104766"/>
                  </a:cubicBezTo>
                  <a:cubicBezTo>
                    <a:pt x="5715" y="104766"/>
                    <a:pt x="5715" y="104766"/>
                    <a:pt x="74162" y="176530"/>
                  </a:cubicBezTo>
                  <a:cubicBezTo>
                    <a:pt x="74162" y="176530"/>
                    <a:pt x="74162" y="176530"/>
                    <a:pt x="142220" y="157029"/>
                  </a:cubicBezTo>
                  <a:cubicBezTo>
                    <a:pt x="142220" y="157029"/>
                    <a:pt x="142220" y="157029"/>
                    <a:pt x="161665" y="88385"/>
                  </a:cubicBezTo>
                  <a:cubicBezTo>
                    <a:pt x="161665" y="88385"/>
                    <a:pt x="161665" y="88385"/>
                    <a:pt x="90107" y="20130"/>
                  </a:cubicBezTo>
                  <a:cubicBezTo>
                    <a:pt x="100704" y="16815"/>
                    <a:pt x="111497" y="15157"/>
                    <a:pt x="122234" y="15041"/>
                  </a:cubicBezTo>
                  <a:close/>
                  <a:moveTo>
                    <a:pt x="531841" y="0"/>
                  </a:moveTo>
                  <a:cubicBezTo>
                    <a:pt x="531841" y="0"/>
                    <a:pt x="531841" y="0"/>
                    <a:pt x="622984" y="87684"/>
                  </a:cubicBezTo>
                  <a:cubicBezTo>
                    <a:pt x="622984" y="87684"/>
                    <a:pt x="622984" y="87684"/>
                    <a:pt x="463289" y="247465"/>
                  </a:cubicBezTo>
                  <a:cubicBezTo>
                    <a:pt x="450436" y="247465"/>
                    <a:pt x="434077" y="250582"/>
                    <a:pt x="424339" y="257207"/>
                  </a:cubicBezTo>
                  <a:lnTo>
                    <a:pt x="362409" y="198751"/>
                  </a:lnTo>
                  <a:cubicBezTo>
                    <a:pt x="372147" y="189009"/>
                    <a:pt x="375263" y="172641"/>
                    <a:pt x="375263" y="159391"/>
                  </a:cubicBezTo>
                  <a:cubicBezTo>
                    <a:pt x="375263" y="159391"/>
                    <a:pt x="375263" y="159391"/>
                    <a:pt x="531841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/>
            <a:extLst>
              <a:ext uri="{91240B29-F687-4f45-9708-019B960494DF}">
                <a14:hiddenLine xmlns:a16="http://schemas.microsoft.com/office/drawing/2014/main" xmlns:p14="http://schemas.microsoft.com/office/powerpoint/2010/main" xmlns:a14="http://schemas.microsoft.com/office/drawing/2010/main" xmlns:lc="http://schemas.openxmlformats.org/drawingml/2006/lockedCanvas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6="http://schemas.microsoft.com/office/drawing/2014/main" xmlns:p14="http://schemas.microsoft.com/office/powerpoint/2010/main" xmlns:a14="http://schemas.microsoft.com/office/drawing/2010/main" xmlns:lc="http://schemas.openxmlformats.org/drawingml/2006/lockedCanvas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" name="îṥľïḋé">
              <a:extLst>
                <a:ext uri="{FF2B5EF4-FFF2-40B4-BE49-F238E27FC236}">
                  <a16:creationId xmlns:a16="http://schemas.microsoft.com/office/drawing/2014/main" id="{12B64456-8920-4FE7-A527-A830434BB025}"/>
                </a:ext>
              </a:extLst>
            </p:cNvPr>
            <p:cNvSpPr/>
            <p:nvPr/>
          </p:nvSpPr>
          <p:spPr bwMode="auto">
            <a:xfrm>
              <a:off x="8940650" y="2439481"/>
              <a:ext cx="296981" cy="269151"/>
            </a:xfrm>
            <a:custGeom>
              <a:avLst/>
              <a:gdLst>
                <a:gd name="connsiteX0" fmla="*/ 496512 w 622984"/>
                <a:gd name="connsiteY0" fmla="*/ 492841 h 564606"/>
                <a:gd name="connsiteX1" fmla="*/ 473955 w 622984"/>
                <a:gd name="connsiteY1" fmla="*/ 515853 h 564606"/>
                <a:gd name="connsiteX2" fmla="*/ 496512 w 622984"/>
                <a:gd name="connsiteY2" fmla="*/ 535354 h 564606"/>
                <a:gd name="connsiteX3" fmla="*/ 519457 w 622984"/>
                <a:gd name="connsiteY3" fmla="*/ 515853 h 564606"/>
                <a:gd name="connsiteX4" fmla="*/ 496512 w 622984"/>
                <a:gd name="connsiteY4" fmla="*/ 492841 h 564606"/>
                <a:gd name="connsiteX5" fmla="*/ 249694 w 622984"/>
                <a:gd name="connsiteY5" fmla="*/ 352049 h 564606"/>
                <a:gd name="connsiteX6" fmla="*/ 272741 w 622984"/>
                <a:gd name="connsiteY6" fmla="*/ 374570 h 564606"/>
                <a:gd name="connsiteX7" fmla="*/ 171569 w 622984"/>
                <a:gd name="connsiteY7" fmla="*/ 475137 h 564606"/>
                <a:gd name="connsiteX8" fmla="*/ 177819 w 622984"/>
                <a:gd name="connsiteY8" fmla="*/ 481738 h 564606"/>
                <a:gd name="connsiteX9" fmla="*/ 155163 w 622984"/>
                <a:gd name="connsiteY9" fmla="*/ 510860 h 564606"/>
                <a:gd name="connsiteX10" fmla="*/ 73522 w 622984"/>
                <a:gd name="connsiteY10" fmla="*/ 562891 h 564606"/>
                <a:gd name="connsiteX11" fmla="*/ 60241 w 622984"/>
                <a:gd name="connsiteY11" fmla="*/ 550077 h 564606"/>
                <a:gd name="connsiteX12" fmla="*/ 112585 w 622984"/>
                <a:gd name="connsiteY12" fmla="*/ 468925 h 564606"/>
                <a:gd name="connsiteX13" fmla="*/ 141882 w 622984"/>
                <a:gd name="connsiteY13" fmla="*/ 446015 h 564606"/>
                <a:gd name="connsiteX14" fmla="*/ 148522 w 622984"/>
                <a:gd name="connsiteY14" fmla="*/ 452616 h 564606"/>
                <a:gd name="connsiteX15" fmla="*/ 122234 w 622984"/>
                <a:gd name="connsiteY15" fmla="*/ 15041 h 564606"/>
                <a:gd name="connsiteX16" fmla="*/ 210667 w 622984"/>
                <a:gd name="connsiteY16" fmla="*/ 52502 h 564606"/>
                <a:gd name="connsiteX17" fmla="*/ 242946 w 622984"/>
                <a:gd name="connsiteY17" fmla="*/ 173410 h 564606"/>
                <a:gd name="connsiteX18" fmla="*/ 532291 w 622984"/>
                <a:gd name="connsiteY18" fmla="*/ 463589 h 564606"/>
                <a:gd name="connsiteX19" fmla="*/ 532291 w 622984"/>
                <a:gd name="connsiteY19" fmla="*/ 545105 h 564606"/>
                <a:gd name="connsiteX20" fmla="*/ 493400 w 622984"/>
                <a:gd name="connsiteY20" fmla="*/ 564606 h 564606"/>
                <a:gd name="connsiteX21" fmla="*/ 451010 w 622984"/>
                <a:gd name="connsiteY21" fmla="*/ 545105 h 564606"/>
                <a:gd name="connsiteX22" fmla="*/ 161665 w 622984"/>
                <a:gd name="connsiteY22" fmla="*/ 258046 h 564606"/>
                <a:gd name="connsiteX23" fmla="*/ 34882 w 622984"/>
                <a:gd name="connsiteY23" fmla="*/ 225674 h 564606"/>
                <a:gd name="connsiteX24" fmla="*/ 5715 w 622984"/>
                <a:gd name="connsiteY24" fmla="*/ 104766 h 564606"/>
                <a:gd name="connsiteX25" fmla="*/ 74162 w 622984"/>
                <a:gd name="connsiteY25" fmla="*/ 176530 h 564606"/>
                <a:gd name="connsiteX26" fmla="*/ 142220 w 622984"/>
                <a:gd name="connsiteY26" fmla="*/ 157029 h 564606"/>
                <a:gd name="connsiteX27" fmla="*/ 161665 w 622984"/>
                <a:gd name="connsiteY27" fmla="*/ 88385 h 564606"/>
                <a:gd name="connsiteX28" fmla="*/ 90107 w 622984"/>
                <a:gd name="connsiteY28" fmla="*/ 20130 h 564606"/>
                <a:gd name="connsiteX29" fmla="*/ 122234 w 622984"/>
                <a:gd name="connsiteY29" fmla="*/ 15041 h 564606"/>
                <a:gd name="connsiteX30" fmla="*/ 531841 w 622984"/>
                <a:gd name="connsiteY30" fmla="*/ 0 h 564606"/>
                <a:gd name="connsiteX31" fmla="*/ 622984 w 622984"/>
                <a:gd name="connsiteY31" fmla="*/ 87684 h 564606"/>
                <a:gd name="connsiteX32" fmla="*/ 463289 w 622984"/>
                <a:gd name="connsiteY32" fmla="*/ 247465 h 564606"/>
                <a:gd name="connsiteX33" fmla="*/ 424339 w 622984"/>
                <a:gd name="connsiteY33" fmla="*/ 257207 h 564606"/>
                <a:gd name="connsiteX34" fmla="*/ 362409 w 622984"/>
                <a:gd name="connsiteY34" fmla="*/ 198751 h 564606"/>
                <a:gd name="connsiteX35" fmla="*/ 375263 w 622984"/>
                <a:gd name="connsiteY35" fmla="*/ 159391 h 564606"/>
                <a:gd name="connsiteX36" fmla="*/ 531841 w 622984"/>
                <a:gd name="connsiteY36" fmla="*/ 0 h 56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622984" h="564606">
                  <a:moveTo>
                    <a:pt x="496512" y="492841"/>
                  </a:moveTo>
                  <a:cubicBezTo>
                    <a:pt x="483678" y="492841"/>
                    <a:pt x="473955" y="502592"/>
                    <a:pt x="473955" y="515853"/>
                  </a:cubicBezTo>
                  <a:cubicBezTo>
                    <a:pt x="473955" y="525604"/>
                    <a:pt x="483678" y="535354"/>
                    <a:pt x="496512" y="535354"/>
                  </a:cubicBezTo>
                  <a:cubicBezTo>
                    <a:pt x="509734" y="535354"/>
                    <a:pt x="519457" y="525604"/>
                    <a:pt x="519457" y="515853"/>
                  </a:cubicBezTo>
                  <a:cubicBezTo>
                    <a:pt x="519457" y="502592"/>
                    <a:pt x="509734" y="492841"/>
                    <a:pt x="496512" y="492841"/>
                  </a:cubicBezTo>
                  <a:close/>
                  <a:moveTo>
                    <a:pt x="249694" y="352049"/>
                  </a:moveTo>
                  <a:lnTo>
                    <a:pt x="272741" y="374570"/>
                  </a:lnTo>
                  <a:lnTo>
                    <a:pt x="171569" y="475137"/>
                  </a:lnTo>
                  <a:lnTo>
                    <a:pt x="177819" y="481738"/>
                  </a:lnTo>
                  <a:lnTo>
                    <a:pt x="155163" y="510860"/>
                  </a:lnTo>
                  <a:lnTo>
                    <a:pt x="73522" y="562891"/>
                  </a:lnTo>
                  <a:lnTo>
                    <a:pt x="60241" y="550077"/>
                  </a:lnTo>
                  <a:lnTo>
                    <a:pt x="112585" y="468925"/>
                  </a:lnTo>
                  <a:lnTo>
                    <a:pt x="141882" y="446015"/>
                  </a:lnTo>
                  <a:lnTo>
                    <a:pt x="148522" y="452616"/>
                  </a:lnTo>
                  <a:close/>
                  <a:moveTo>
                    <a:pt x="122234" y="15041"/>
                  </a:moveTo>
                  <a:cubicBezTo>
                    <a:pt x="154446" y="14694"/>
                    <a:pt x="186166" y="28223"/>
                    <a:pt x="210667" y="52502"/>
                  </a:cubicBezTo>
                  <a:cubicBezTo>
                    <a:pt x="242946" y="85264"/>
                    <a:pt x="256169" y="130897"/>
                    <a:pt x="242946" y="173410"/>
                  </a:cubicBezTo>
                  <a:lnTo>
                    <a:pt x="532291" y="463589"/>
                  </a:lnTo>
                  <a:cubicBezTo>
                    <a:pt x="555236" y="486211"/>
                    <a:pt x="555236" y="522093"/>
                    <a:pt x="532291" y="545105"/>
                  </a:cubicBezTo>
                  <a:cubicBezTo>
                    <a:pt x="522568" y="557976"/>
                    <a:pt x="506234" y="564606"/>
                    <a:pt x="493400" y="564606"/>
                  </a:cubicBezTo>
                  <a:cubicBezTo>
                    <a:pt x="477066" y="564606"/>
                    <a:pt x="460733" y="557976"/>
                    <a:pt x="451010" y="545105"/>
                  </a:cubicBezTo>
                  <a:cubicBezTo>
                    <a:pt x="451010" y="545105"/>
                    <a:pt x="451010" y="545105"/>
                    <a:pt x="161665" y="258046"/>
                  </a:cubicBezTo>
                  <a:cubicBezTo>
                    <a:pt x="119275" y="270917"/>
                    <a:pt x="70662" y="261556"/>
                    <a:pt x="34882" y="225674"/>
                  </a:cubicBezTo>
                  <a:cubicBezTo>
                    <a:pt x="2215" y="192911"/>
                    <a:pt x="-7508" y="147278"/>
                    <a:pt x="5715" y="104766"/>
                  </a:cubicBezTo>
                  <a:cubicBezTo>
                    <a:pt x="5715" y="104766"/>
                    <a:pt x="5715" y="104766"/>
                    <a:pt x="74162" y="176530"/>
                  </a:cubicBezTo>
                  <a:cubicBezTo>
                    <a:pt x="74162" y="176530"/>
                    <a:pt x="74162" y="176530"/>
                    <a:pt x="142220" y="157029"/>
                  </a:cubicBezTo>
                  <a:cubicBezTo>
                    <a:pt x="142220" y="157029"/>
                    <a:pt x="142220" y="157029"/>
                    <a:pt x="161665" y="88385"/>
                  </a:cubicBezTo>
                  <a:cubicBezTo>
                    <a:pt x="161665" y="88385"/>
                    <a:pt x="161665" y="88385"/>
                    <a:pt x="90107" y="20130"/>
                  </a:cubicBezTo>
                  <a:cubicBezTo>
                    <a:pt x="100704" y="16815"/>
                    <a:pt x="111497" y="15157"/>
                    <a:pt x="122234" y="15041"/>
                  </a:cubicBezTo>
                  <a:close/>
                  <a:moveTo>
                    <a:pt x="531841" y="0"/>
                  </a:moveTo>
                  <a:cubicBezTo>
                    <a:pt x="531841" y="0"/>
                    <a:pt x="531841" y="0"/>
                    <a:pt x="622984" y="87684"/>
                  </a:cubicBezTo>
                  <a:cubicBezTo>
                    <a:pt x="622984" y="87684"/>
                    <a:pt x="622984" y="87684"/>
                    <a:pt x="463289" y="247465"/>
                  </a:cubicBezTo>
                  <a:cubicBezTo>
                    <a:pt x="450436" y="247465"/>
                    <a:pt x="434077" y="250582"/>
                    <a:pt x="424339" y="257207"/>
                  </a:cubicBezTo>
                  <a:lnTo>
                    <a:pt x="362409" y="198751"/>
                  </a:lnTo>
                  <a:cubicBezTo>
                    <a:pt x="372147" y="189009"/>
                    <a:pt x="375263" y="172641"/>
                    <a:pt x="375263" y="159391"/>
                  </a:cubicBezTo>
                  <a:cubicBezTo>
                    <a:pt x="375263" y="159391"/>
                    <a:pt x="375263" y="159391"/>
                    <a:pt x="531841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/>
            <a:extLst>
              <a:ext uri="{91240B29-F687-4f45-9708-019B960494DF}">
                <a14:hiddenLine xmlns:a16="http://schemas.microsoft.com/office/drawing/2014/main" xmlns:p14="http://schemas.microsoft.com/office/powerpoint/2010/main" xmlns:a14="http://schemas.microsoft.com/office/drawing/2010/main" xmlns:lc="http://schemas.openxmlformats.org/drawingml/2006/lockedCanvas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6="http://schemas.microsoft.com/office/drawing/2014/main" xmlns:p14="http://schemas.microsoft.com/office/powerpoint/2010/main" xmlns:a14="http://schemas.microsoft.com/office/drawing/2010/main" xmlns:lc="http://schemas.openxmlformats.org/drawingml/2006/lockedCanvas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" name="ís1îḓé">
              <a:extLst>
                <a:ext uri="{FF2B5EF4-FFF2-40B4-BE49-F238E27FC236}">
                  <a16:creationId xmlns:a16="http://schemas.microsoft.com/office/drawing/2014/main" id="{5E0E6F6E-98F5-476A-B126-E5B80D4FBD0B}"/>
                </a:ext>
              </a:extLst>
            </p:cNvPr>
            <p:cNvSpPr txBox="1"/>
            <p:nvPr/>
          </p:nvSpPr>
          <p:spPr bwMode="auto">
            <a:xfrm>
              <a:off x="1523845" y="3663098"/>
              <a:ext cx="1672590" cy="4421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anchor="ctr">
              <a:norm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</a:pPr>
              <a:r>
                <a:rPr lang="zh-CN" altLang="en-US" sz="1600" b="1" dirty="0"/>
                <a:t>前端发起请求</a:t>
              </a:r>
            </a:p>
          </p:txBody>
        </p:sp>
        <p:sp>
          <p:nvSpPr>
            <p:cNvPr id="35" name="ísḻídé">
              <a:extLst>
                <a:ext uri="{FF2B5EF4-FFF2-40B4-BE49-F238E27FC236}">
                  <a16:creationId xmlns:a16="http://schemas.microsoft.com/office/drawing/2014/main" id="{FBF4E62B-793A-4A15-8099-EDBBA52413FC}"/>
                </a:ext>
              </a:extLst>
            </p:cNvPr>
            <p:cNvSpPr txBox="1"/>
            <p:nvPr/>
          </p:nvSpPr>
          <p:spPr bwMode="auto">
            <a:xfrm>
              <a:off x="4741919" y="4062502"/>
              <a:ext cx="1672590" cy="4421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anchor="ctr">
              <a:norm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</a:pPr>
              <a:r>
                <a:rPr lang="zh-CN" altLang="en-US" sz="1600" b="1" dirty="0"/>
                <a:t>后端解析请求</a:t>
              </a:r>
            </a:p>
          </p:txBody>
        </p:sp>
        <p:sp>
          <p:nvSpPr>
            <p:cNvPr id="36" name="î$ľïḓé">
              <a:extLst>
                <a:ext uri="{FF2B5EF4-FFF2-40B4-BE49-F238E27FC236}">
                  <a16:creationId xmlns:a16="http://schemas.microsoft.com/office/drawing/2014/main" id="{D0D4D9FE-2039-4A7A-B5A3-E9B2648B60A4}"/>
                </a:ext>
              </a:extLst>
            </p:cNvPr>
            <p:cNvSpPr txBox="1"/>
            <p:nvPr/>
          </p:nvSpPr>
          <p:spPr bwMode="auto">
            <a:xfrm>
              <a:off x="6731612" y="3787697"/>
              <a:ext cx="1672590" cy="4421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anchor="ctr">
              <a:norm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</a:pPr>
              <a:r>
                <a:rPr lang="zh-CN" altLang="en-US" sz="1600" b="1" dirty="0"/>
                <a:t>操作数据库</a:t>
              </a:r>
            </a:p>
          </p:txBody>
        </p:sp>
      </p:grpSp>
      <p:sp>
        <p:nvSpPr>
          <p:cNvPr id="6" name="文本框 5">
            <a:extLst>
              <a:ext uri="{FF2B5EF4-FFF2-40B4-BE49-F238E27FC236}">
                <a16:creationId xmlns:a16="http://schemas.microsoft.com/office/drawing/2014/main" id="{65417D44-C55D-406D-BDD1-2FF967B04AEE}"/>
              </a:ext>
            </a:extLst>
          </p:cNvPr>
          <p:cNvSpPr txBox="1"/>
          <p:nvPr/>
        </p:nvSpPr>
        <p:spPr>
          <a:xfrm>
            <a:off x="3342740" y="2068658"/>
            <a:ext cx="1426993" cy="3438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zh-CN" altLang="en-US" sz="1600" b="1" dirty="0"/>
              <a:t>打包请求</a:t>
            </a:r>
            <a:r>
              <a:rPr lang="en-US" altLang="zh-CN" sz="1600" b="1" dirty="0"/>
              <a:t>json</a:t>
            </a:r>
            <a:endParaRPr lang="zh-CN" altLang="en-US" sz="1600" b="1" dirty="0"/>
          </a:p>
        </p:txBody>
      </p:sp>
      <p:sp>
        <p:nvSpPr>
          <p:cNvPr id="32" name="文本框 31">
            <a:extLst>
              <a:ext uri="{FF2B5EF4-FFF2-40B4-BE49-F238E27FC236}">
                <a16:creationId xmlns:a16="http://schemas.microsoft.com/office/drawing/2014/main" id="{1F14B05D-D2AF-4881-82D8-F3064F547CAD}"/>
              </a:ext>
            </a:extLst>
          </p:cNvPr>
          <p:cNvSpPr txBox="1"/>
          <p:nvPr/>
        </p:nvSpPr>
        <p:spPr>
          <a:xfrm>
            <a:off x="5751624" y="2013784"/>
            <a:ext cx="1415772" cy="3438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zh-CN" altLang="en-US" sz="1600" b="1" dirty="0"/>
              <a:t>生成包裹信息</a:t>
            </a:r>
          </a:p>
        </p:txBody>
      </p:sp>
      <p:sp>
        <p:nvSpPr>
          <p:cNvPr id="33" name="文本框 32">
            <a:extLst>
              <a:ext uri="{FF2B5EF4-FFF2-40B4-BE49-F238E27FC236}">
                <a16:creationId xmlns:a16="http://schemas.microsoft.com/office/drawing/2014/main" id="{274BC1F5-842B-4693-A6B0-AD64860A6DCD}"/>
              </a:ext>
            </a:extLst>
          </p:cNvPr>
          <p:cNvSpPr txBox="1"/>
          <p:nvPr/>
        </p:nvSpPr>
        <p:spPr>
          <a:xfrm>
            <a:off x="8176069" y="1834329"/>
            <a:ext cx="1826141" cy="3438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zh-CN" altLang="en-US" sz="1600" b="1" dirty="0"/>
              <a:t>前端刷新查询内容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3145007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研究方法及过程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endParaRPr lang="zh-CN" altLang="en-US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3044772" y="2667679"/>
            <a:ext cx="1861056" cy="1618118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16200000" scaled="0"/>
                </a:gradFill>
                <a:latin typeface="Impact" panose="020B0806030902050204" pitchFamily="34" charset="0"/>
                <a:cs typeface="Arial" panose="020B0604020202020204" pitchFamily="34" charset="0"/>
              </a:rPr>
              <a:t>/03</a:t>
            </a:r>
            <a:endParaRPr lang="zh-CN" altLang="en-US" spc="100" dirty="0">
              <a:gradFill>
                <a:gsLst>
                  <a:gs pos="0">
                    <a:schemeClr val="accent1"/>
                  </a:gs>
                  <a:gs pos="100000">
                    <a:schemeClr val="accent2"/>
                  </a:gs>
                </a:gsLst>
                <a:lin ang="16200000" scaled="0"/>
              </a:gra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9712027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研究方法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9</a:t>
            </a:fld>
            <a:endParaRPr lang="zh-CN" altLang="en-US"/>
          </a:p>
        </p:txBody>
      </p:sp>
      <p:grpSp>
        <p:nvGrpSpPr>
          <p:cNvPr id="5" name="#254827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/>
        </p:nvGrpSpPr>
        <p:grpSpPr>
          <a:xfrm>
            <a:off x="669925" y="0"/>
            <a:ext cx="11522075" cy="6205119"/>
            <a:chOff x="669925" y="0"/>
            <a:chExt cx="11522075" cy="6205119"/>
          </a:xfrm>
        </p:grpSpPr>
        <p:sp>
          <p:nvSpPr>
            <p:cNvPr id="6" name="islîḓe"/>
            <p:cNvSpPr/>
            <p:nvPr/>
          </p:nvSpPr>
          <p:spPr bwMode="auto">
            <a:xfrm>
              <a:off x="5698067" y="0"/>
              <a:ext cx="6493933" cy="5266267"/>
            </a:xfrm>
            <a:custGeom>
              <a:avLst/>
              <a:gdLst>
                <a:gd name="T0" fmla="*/ 1296 w 1296"/>
                <a:gd name="T1" fmla="*/ 0 h 1051"/>
                <a:gd name="T2" fmla="*/ 1098 w 1296"/>
                <a:gd name="T3" fmla="*/ 0 h 1051"/>
                <a:gd name="T4" fmla="*/ 941 w 1296"/>
                <a:gd name="T5" fmla="*/ 311 h 1051"/>
                <a:gd name="T6" fmla="*/ 941 w 1296"/>
                <a:gd name="T7" fmla="*/ 868 h 1051"/>
                <a:gd name="T8" fmla="*/ 875 w 1296"/>
                <a:gd name="T9" fmla="*/ 957 h 1051"/>
                <a:gd name="T10" fmla="*/ 809 w 1296"/>
                <a:gd name="T11" fmla="*/ 868 h 1051"/>
                <a:gd name="T12" fmla="*/ 809 w 1296"/>
                <a:gd name="T13" fmla="*/ 841 h 1051"/>
                <a:gd name="T14" fmla="*/ 453 w 1296"/>
                <a:gd name="T15" fmla="*/ 468 h 1051"/>
                <a:gd name="T16" fmla="*/ 0 w 1296"/>
                <a:gd name="T17" fmla="*/ 468 h 1051"/>
                <a:gd name="T18" fmla="*/ 0 w 1296"/>
                <a:gd name="T19" fmla="*/ 563 h 1051"/>
                <a:gd name="T20" fmla="*/ 119 w 1296"/>
                <a:gd name="T21" fmla="*/ 563 h 1051"/>
                <a:gd name="T22" fmla="*/ 453 w 1296"/>
                <a:gd name="T23" fmla="*/ 563 h 1051"/>
                <a:gd name="T24" fmla="*/ 715 w 1296"/>
                <a:gd name="T25" fmla="*/ 841 h 1051"/>
                <a:gd name="T26" fmla="*/ 715 w 1296"/>
                <a:gd name="T27" fmla="*/ 868 h 1051"/>
                <a:gd name="T28" fmla="*/ 715 w 1296"/>
                <a:gd name="T29" fmla="*/ 868 h 1051"/>
                <a:gd name="T30" fmla="*/ 875 w 1296"/>
                <a:gd name="T31" fmla="*/ 1051 h 1051"/>
                <a:gd name="T32" fmla="*/ 875 w 1296"/>
                <a:gd name="T33" fmla="*/ 1051 h 1051"/>
                <a:gd name="T34" fmla="*/ 875 w 1296"/>
                <a:gd name="T35" fmla="*/ 1051 h 1051"/>
                <a:gd name="T36" fmla="*/ 1036 w 1296"/>
                <a:gd name="T37" fmla="*/ 868 h 1051"/>
                <a:gd name="T38" fmla="*/ 1036 w 1296"/>
                <a:gd name="T39" fmla="*/ 868 h 1051"/>
                <a:gd name="T40" fmla="*/ 1036 w 1296"/>
                <a:gd name="T41" fmla="*/ 311 h 1051"/>
                <a:gd name="T42" fmla="*/ 1036 w 1296"/>
                <a:gd name="T43" fmla="*/ 311 h 1051"/>
                <a:gd name="T44" fmla="*/ 1289 w 1296"/>
                <a:gd name="T45" fmla="*/ 33 h 1051"/>
                <a:gd name="T46" fmla="*/ 1296 w 1296"/>
                <a:gd name="T47" fmla="*/ 33 h 1051"/>
                <a:gd name="T48" fmla="*/ 1296 w 1296"/>
                <a:gd name="T49" fmla="*/ 0 h 10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296" h="1051">
                  <a:moveTo>
                    <a:pt x="1296" y="0"/>
                  </a:moveTo>
                  <a:cubicBezTo>
                    <a:pt x="1098" y="0"/>
                    <a:pt x="1098" y="0"/>
                    <a:pt x="1098" y="0"/>
                  </a:cubicBezTo>
                  <a:cubicBezTo>
                    <a:pt x="1004" y="67"/>
                    <a:pt x="941" y="181"/>
                    <a:pt x="941" y="311"/>
                  </a:cubicBezTo>
                  <a:cubicBezTo>
                    <a:pt x="941" y="868"/>
                    <a:pt x="941" y="868"/>
                    <a:pt x="941" y="868"/>
                  </a:cubicBezTo>
                  <a:cubicBezTo>
                    <a:pt x="941" y="915"/>
                    <a:pt x="910" y="957"/>
                    <a:pt x="875" y="957"/>
                  </a:cubicBezTo>
                  <a:cubicBezTo>
                    <a:pt x="840" y="957"/>
                    <a:pt x="809" y="915"/>
                    <a:pt x="809" y="868"/>
                  </a:cubicBezTo>
                  <a:cubicBezTo>
                    <a:pt x="809" y="841"/>
                    <a:pt x="809" y="841"/>
                    <a:pt x="809" y="841"/>
                  </a:cubicBezTo>
                  <a:cubicBezTo>
                    <a:pt x="809" y="635"/>
                    <a:pt x="649" y="468"/>
                    <a:pt x="453" y="468"/>
                  </a:cubicBezTo>
                  <a:cubicBezTo>
                    <a:pt x="0" y="468"/>
                    <a:pt x="0" y="468"/>
                    <a:pt x="0" y="468"/>
                  </a:cubicBezTo>
                  <a:cubicBezTo>
                    <a:pt x="0" y="563"/>
                    <a:pt x="0" y="563"/>
                    <a:pt x="0" y="563"/>
                  </a:cubicBezTo>
                  <a:cubicBezTo>
                    <a:pt x="119" y="563"/>
                    <a:pt x="119" y="563"/>
                    <a:pt x="119" y="563"/>
                  </a:cubicBezTo>
                  <a:cubicBezTo>
                    <a:pt x="453" y="563"/>
                    <a:pt x="453" y="563"/>
                    <a:pt x="453" y="563"/>
                  </a:cubicBezTo>
                  <a:cubicBezTo>
                    <a:pt x="597" y="563"/>
                    <a:pt x="715" y="688"/>
                    <a:pt x="715" y="841"/>
                  </a:cubicBezTo>
                  <a:cubicBezTo>
                    <a:pt x="715" y="868"/>
                    <a:pt x="715" y="868"/>
                    <a:pt x="715" y="868"/>
                  </a:cubicBezTo>
                  <a:cubicBezTo>
                    <a:pt x="715" y="868"/>
                    <a:pt x="715" y="868"/>
                    <a:pt x="715" y="868"/>
                  </a:cubicBezTo>
                  <a:cubicBezTo>
                    <a:pt x="715" y="967"/>
                    <a:pt x="788" y="1051"/>
                    <a:pt x="875" y="1051"/>
                  </a:cubicBezTo>
                  <a:cubicBezTo>
                    <a:pt x="875" y="1051"/>
                    <a:pt x="875" y="1051"/>
                    <a:pt x="875" y="1051"/>
                  </a:cubicBezTo>
                  <a:cubicBezTo>
                    <a:pt x="875" y="1051"/>
                    <a:pt x="875" y="1051"/>
                    <a:pt x="875" y="1051"/>
                  </a:cubicBezTo>
                  <a:cubicBezTo>
                    <a:pt x="962" y="1051"/>
                    <a:pt x="1036" y="967"/>
                    <a:pt x="1036" y="868"/>
                  </a:cubicBezTo>
                  <a:cubicBezTo>
                    <a:pt x="1036" y="868"/>
                    <a:pt x="1036" y="868"/>
                    <a:pt x="1036" y="868"/>
                  </a:cubicBezTo>
                  <a:cubicBezTo>
                    <a:pt x="1036" y="311"/>
                    <a:pt x="1036" y="311"/>
                    <a:pt x="1036" y="311"/>
                  </a:cubicBezTo>
                  <a:cubicBezTo>
                    <a:pt x="1036" y="311"/>
                    <a:pt x="1036" y="311"/>
                    <a:pt x="1036" y="311"/>
                  </a:cubicBezTo>
                  <a:cubicBezTo>
                    <a:pt x="1036" y="158"/>
                    <a:pt x="1149" y="33"/>
                    <a:pt x="1289" y="33"/>
                  </a:cubicBezTo>
                  <a:cubicBezTo>
                    <a:pt x="1292" y="33"/>
                    <a:pt x="1294" y="33"/>
                    <a:pt x="1296" y="33"/>
                  </a:cubicBezTo>
                  <a:cubicBezTo>
                    <a:pt x="1296" y="0"/>
                    <a:pt x="1296" y="0"/>
                    <a:pt x="1296" y="0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7" name="ïṧḷiḓé"/>
            <p:cNvSpPr/>
            <p:nvPr/>
          </p:nvSpPr>
          <p:spPr bwMode="auto">
            <a:xfrm>
              <a:off x="6896100" y="627702"/>
              <a:ext cx="5295900" cy="5577417"/>
            </a:xfrm>
            <a:custGeom>
              <a:avLst/>
              <a:gdLst>
                <a:gd name="T0" fmla="*/ 1050 w 1057"/>
                <a:gd name="T1" fmla="*/ 0 h 1113"/>
                <a:gd name="T2" fmla="*/ 891 w 1057"/>
                <a:gd name="T3" fmla="*/ 183 h 1113"/>
                <a:gd name="T4" fmla="*/ 891 w 1057"/>
                <a:gd name="T5" fmla="*/ 740 h 1113"/>
                <a:gd name="T6" fmla="*/ 891 w 1057"/>
                <a:gd name="T7" fmla="*/ 740 h 1113"/>
                <a:gd name="T8" fmla="*/ 636 w 1057"/>
                <a:gd name="T9" fmla="*/ 1018 h 1113"/>
                <a:gd name="T10" fmla="*/ 381 w 1057"/>
                <a:gd name="T11" fmla="*/ 740 h 1113"/>
                <a:gd name="T12" fmla="*/ 381 w 1057"/>
                <a:gd name="T13" fmla="*/ 713 h 1113"/>
                <a:gd name="T14" fmla="*/ 214 w 1057"/>
                <a:gd name="T15" fmla="*/ 529 h 1113"/>
                <a:gd name="T16" fmla="*/ 0 w 1057"/>
                <a:gd name="T17" fmla="*/ 529 h 1113"/>
                <a:gd name="T18" fmla="*/ 0 w 1057"/>
                <a:gd name="T19" fmla="*/ 624 h 1113"/>
                <a:gd name="T20" fmla="*/ 214 w 1057"/>
                <a:gd name="T21" fmla="*/ 624 h 1113"/>
                <a:gd name="T22" fmla="*/ 287 w 1057"/>
                <a:gd name="T23" fmla="*/ 713 h 1113"/>
                <a:gd name="T24" fmla="*/ 287 w 1057"/>
                <a:gd name="T25" fmla="*/ 740 h 1113"/>
                <a:gd name="T26" fmla="*/ 636 w 1057"/>
                <a:gd name="T27" fmla="*/ 1113 h 1113"/>
                <a:gd name="T28" fmla="*/ 986 w 1057"/>
                <a:gd name="T29" fmla="*/ 740 h 1113"/>
                <a:gd name="T30" fmla="*/ 986 w 1057"/>
                <a:gd name="T31" fmla="*/ 183 h 1113"/>
                <a:gd name="T32" fmla="*/ 1050 w 1057"/>
                <a:gd name="T33" fmla="*/ 94 h 1113"/>
                <a:gd name="T34" fmla="*/ 1057 w 1057"/>
                <a:gd name="T35" fmla="*/ 95 h 1113"/>
                <a:gd name="T36" fmla="*/ 1057 w 1057"/>
                <a:gd name="T37" fmla="*/ 0 h 1113"/>
                <a:gd name="T38" fmla="*/ 1050 w 1057"/>
                <a:gd name="T39" fmla="*/ 0 h 1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057" h="1113">
                  <a:moveTo>
                    <a:pt x="1050" y="0"/>
                  </a:moveTo>
                  <a:cubicBezTo>
                    <a:pt x="962" y="0"/>
                    <a:pt x="891" y="82"/>
                    <a:pt x="891" y="183"/>
                  </a:cubicBezTo>
                  <a:cubicBezTo>
                    <a:pt x="891" y="740"/>
                    <a:pt x="891" y="740"/>
                    <a:pt x="891" y="740"/>
                  </a:cubicBezTo>
                  <a:cubicBezTo>
                    <a:pt x="891" y="740"/>
                    <a:pt x="891" y="740"/>
                    <a:pt x="891" y="740"/>
                  </a:cubicBezTo>
                  <a:cubicBezTo>
                    <a:pt x="891" y="893"/>
                    <a:pt x="777" y="1018"/>
                    <a:pt x="636" y="1018"/>
                  </a:cubicBezTo>
                  <a:cubicBezTo>
                    <a:pt x="495" y="1018"/>
                    <a:pt x="381" y="893"/>
                    <a:pt x="381" y="740"/>
                  </a:cubicBezTo>
                  <a:cubicBezTo>
                    <a:pt x="381" y="713"/>
                    <a:pt x="381" y="713"/>
                    <a:pt x="381" y="713"/>
                  </a:cubicBezTo>
                  <a:cubicBezTo>
                    <a:pt x="381" y="613"/>
                    <a:pt x="305" y="529"/>
                    <a:pt x="214" y="529"/>
                  </a:cubicBezTo>
                  <a:cubicBezTo>
                    <a:pt x="0" y="529"/>
                    <a:pt x="0" y="529"/>
                    <a:pt x="0" y="529"/>
                  </a:cubicBezTo>
                  <a:cubicBezTo>
                    <a:pt x="0" y="624"/>
                    <a:pt x="0" y="624"/>
                    <a:pt x="0" y="624"/>
                  </a:cubicBezTo>
                  <a:cubicBezTo>
                    <a:pt x="214" y="624"/>
                    <a:pt x="214" y="624"/>
                    <a:pt x="214" y="624"/>
                  </a:cubicBezTo>
                  <a:cubicBezTo>
                    <a:pt x="253" y="624"/>
                    <a:pt x="287" y="666"/>
                    <a:pt x="287" y="713"/>
                  </a:cubicBezTo>
                  <a:cubicBezTo>
                    <a:pt x="287" y="740"/>
                    <a:pt x="287" y="740"/>
                    <a:pt x="287" y="740"/>
                  </a:cubicBezTo>
                  <a:cubicBezTo>
                    <a:pt x="287" y="945"/>
                    <a:pt x="443" y="1113"/>
                    <a:pt x="636" y="1113"/>
                  </a:cubicBezTo>
                  <a:cubicBezTo>
                    <a:pt x="829" y="1113"/>
                    <a:pt x="986" y="945"/>
                    <a:pt x="986" y="740"/>
                  </a:cubicBezTo>
                  <a:cubicBezTo>
                    <a:pt x="986" y="183"/>
                    <a:pt x="986" y="183"/>
                    <a:pt x="986" y="183"/>
                  </a:cubicBezTo>
                  <a:cubicBezTo>
                    <a:pt x="986" y="137"/>
                    <a:pt x="1016" y="94"/>
                    <a:pt x="1050" y="94"/>
                  </a:cubicBezTo>
                  <a:cubicBezTo>
                    <a:pt x="1053" y="94"/>
                    <a:pt x="1055" y="95"/>
                    <a:pt x="1057" y="95"/>
                  </a:cubicBezTo>
                  <a:cubicBezTo>
                    <a:pt x="1057" y="0"/>
                    <a:pt x="1057" y="0"/>
                    <a:pt x="1057" y="0"/>
                  </a:cubicBezTo>
                  <a:cubicBezTo>
                    <a:pt x="1055" y="0"/>
                    <a:pt x="1053" y="0"/>
                    <a:pt x="1050" y="0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8" name="ïṩļíḓè"/>
            <p:cNvSpPr/>
            <p:nvPr/>
          </p:nvSpPr>
          <p:spPr bwMode="auto">
            <a:xfrm>
              <a:off x="6294967" y="151452"/>
              <a:ext cx="5897033" cy="5577417"/>
            </a:xfrm>
            <a:custGeom>
              <a:avLst/>
              <a:gdLst>
                <a:gd name="T0" fmla="*/ 1170 w 1177"/>
                <a:gd name="T1" fmla="*/ 0 h 1113"/>
                <a:gd name="T2" fmla="*/ 917 w 1177"/>
                <a:gd name="T3" fmla="*/ 278 h 1113"/>
                <a:gd name="T4" fmla="*/ 917 w 1177"/>
                <a:gd name="T5" fmla="*/ 278 h 1113"/>
                <a:gd name="T6" fmla="*/ 917 w 1177"/>
                <a:gd name="T7" fmla="*/ 835 h 1113"/>
                <a:gd name="T8" fmla="*/ 917 w 1177"/>
                <a:gd name="T9" fmla="*/ 835 h 1113"/>
                <a:gd name="T10" fmla="*/ 917 w 1177"/>
                <a:gd name="T11" fmla="*/ 835 h 1113"/>
                <a:gd name="T12" fmla="*/ 756 w 1177"/>
                <a:gd name="T13" fmla="*/ 1018 h 1113"/>
                <a:gd name="T14" fmla="*/ 756 w 1177"/>
                <a:gd name="T15" fmla="*/ 1018 h 1113"/>
                <a:gd name="T16" fmla="*/ 756 w 1177"/>
                <a:gd name="T17" fmla="*/ 1018 h 1113"/>
                <a:gd name="T18" fmla="*/ 596 w 1177"/>
                <a:gd name="T19" fmla="*/ 835 h 1113"/>
                <a:gd name="T20" fmla="*/ 596 w 1177"/>
                <a:gd name="T21" fmla="*/ 835 h 1113"/>
                <a:gd name="T22" fmla="*/ 596 w 1177"/>
                <a:gd name="T23" fmla="*/ 808 h 1113"/>
                <a:gd name="T24" fmla="*/ 334 w 1177"/>
                <a:gd name="T25" fmla="*/ 530 h 1113"/>
                <a:gd name="T26" fmla="*/ 0 w 1177"/>
                <a:gd name="T27" fmla="*/ 530 h 1113"/>
                <a:gd name="T28" fmla="*/ 0 w 1177"/>
                <a:gd name="T29" fmla="*/ 624 h 1113"/>
                <a:gd name="T30" fmla="*/ 334 w 1177"/>
                <a:gd name="T31" fmla="*/ 624 h 1113"/>
                <a:gd name="T32" fmla="*/ 501 w 1177"/>
                <a:gd name="T33" fmla="*/ 808 h 1113"/>
                <a:gd name="T34" fmla="*/ 501 w 1177"/>
                <a:gd name="T35" fmla="*/ 835 h 1113"/>
                <a:gd name="T36" fmla="*/ 756 w 1177"/>
                <a:gd name="T37" fmla="*/ 1113 h 1113"/>
                <a:gd name="T38" fmla="*/ 1011 w 1177"/>
                <a:gd name="T39" fmla="*/ 835 h 1113"/>
                <a:gd name="T40" fmla="*/ 1011 w 1177"/>
                <a:gd name="T41" fmla="*/ 835 h 1113"/>
                <a:gd name="T42" fmla="*/ 1011 w 1177"/>
                <a:gd name="T43" fmla="*/ 278 h 1113"/>
                <a:gd name="T44" fmla="*/ 1170 w 1177"/>
                <a:gd name="T45" fmla="*/ 95 h 1113"/>
                <a:gd name="T46" fmla="*/ 1177 w 1177"/>
                <a:gd name="T47" fmla="*/ 95 h 1113"/>
                <a:gd name="T48" fmla="*/ 1177 w 1177"/>
                <a:gd name="T49" fmla="*/ 0 h 1113"/>
                <a:gd name="T50" fmla="*/ 1177 w 1177"/>
                <a:gd name="T51" fmla="*/ 0 h 1113"/>
                <a:gd name="T52" fmla="*/ 1170 w 1177"/>
                <a:gd name="T53" fmla="*/ 0 h 1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177" h="1113">
                  <a:moveTo>
                    <a:pt x="1170" y="0"/>
                  </a:moveTo>
                  <a:cubicBezTo>
                    <a:pt x="1030" y="0"/>
                    <a:pt x="917" y="125"/>
                    <a:pt x="917" y="278"/>
                  </a:cubicBezTo>
                  <a:cubicBezTo>
                    <a:pt x="917" y="278"/>
                    <a:pt x="917" y="278"/>
                    <a:pt x="917" y="278"/>
                  </a:cubicBezTo>
                  <a:cubicBezTo>
                    <a:pt x="917" y="835"/>
                    <a:pt x="917" y="835"/>
                    <a:pt x="917" y="835"/>
                  </a:cubicBezTo>
                  <a:cubicBezTo>
                    <a:pt x="917" y="835"/>
                    <a:pt x="917" y="835"/>
                    <a:pt x="917" y="835"/>
                  </a:cubicBezTo>
                  <a:cubicBezTo>
                    <a:pt x="917" y="835"/>
                    <a:pt x="917" y="835"/>
                    <a:pt x="917" y="835"/>
                  </a:cubicBezTo>
                  <a:cubicBezTo>
                    <a:pt x="917" y="936"/>
                    <a:pt x="845" y="1018"/>
                    <a:pt x="756" y="1018"/>
                  </a:cubicBezTo>
                  <a:cubicBezTo>
                    <a:pt x="756" y="1018"/>
                    <a:pt x="756" y="1018"/>
                    <a:pt x="756" y="1018"/>
                  </a:cubicBezTo>
                  <a:cubicBezTo>
                    <a:pt x="756" y="1018"/>
                    <a:pt x="756" y="1018"/>
                    <a:pt x="756" y="1018"/>
                  </a:cubicBezTo>
                  <a:cubicBezTo>
                    <a:pt x="668" y="1018"/>
                    <a:pt x="596" y="936"/>
                    <a:pt x="596" y="835"/>
                  </a:cubicBezTo>
                  <a:cubicBezTo>
                    <a:pt x="596" y="835"/>
                    <a:pt x="596" y="835"/>
                    <a:pt x="596" y="835"/>
                  </a:cubicBezTo>
                  <a:cubicBezTo>
                    <a:pt x="596" y="808"/>
                    <a:pt x="596" y="808"/>
                    <a:pt x="596" y="808"/>
                  </a:cubicBezTo>
                  <a:cubicBezTo>
                    <a:pt x="596" y="655"/>
                    <a:pt x="478" y="530"/>
                    <a:pt x="334" y="530"/>
                  </a:cubicBezTo>
                  <a:cubicBezTo>
                    <a:pt x="0" y="530"/>
                    <a:pt x="0" y="530"/>
                    <a:pt x="0" y="530"/>
                  </a:cubicBezTo>
                  <a:cubicBezTo>
                    <a:pt x="0" y="624"/>
                    <a:pt x="0" y="624"/>
                    <a:pt x="0" y="624"/>
                  </a:cubicBezTo>
                  <a:cubicBezTo>
                    <a:pt x="334" y="624"/>
                    <a:pt x="334" y="624"/>
                    <a:pt x="334" y="624"/>
                  </a:cubicBezTo>
                  <a:cubicBezTo>
                    <a:pt x="426" y="624"/>
                    <a:pt x="501" y="707"/>
                    <a:pt x="501" y="808"/>
                  </a:cubicBezTo>
                  <a:cubicBezTo>
                    <a:pt x="501" y="835"/>
                    <a:pt x="501" y="835"/>
                    <a:pt x="501" y="835"/>
                  </a:cubicBezTo>
                  <a:cubicBezTo>
                    <a:pt x="501" y="988"/>
                    <a:pt x="615" y="1113"/>
                    <a:pt x="756" y="1113"/>
                  </a:cubicBezTo>
                  <a:cubicBezTo>
                    <a:pt x="897" y="1113"/>
                    <a:pt x="1011" y="988"/>
                    <a:pt x="1011" y="835"/>
                  </a:cubicBezTo>
                  <a:cubicBezTo>
                    <a:pt x="1011" y="835"/>
                    <a:pt x="1011" y="835"/>
                    <a:pt x="1011" y="835"/>
                  </a:cubicBezTo>
                  <a:cubicBezTo>
                    <a:pt x="1011" y="278"/>
                    <a:pt x="1011" y="278"/>
                    <a:pt x="1011" y="278"/>
                  </a:cubicBezTo>
                  <a:cubicBezTo>
                    <a:pt x="1011" y="177"/>
                    <a:pt x="1082" y="95"/>
                    <a:pt x="1170" y="95"/>
                  </a:cubicBezTo>
                  <a:cubicBezTo>
                    <a:pt x="1173" y="95"/>
                    <a:pt x="1175" y="95"/>
                    <a:pt x="1177" y="95"/>
                  </a:cubicBezTo>
                  <a:cubicBezTo>
                    <a:pt x="1177" y="0"/>
                    <a:pt x="1177" y="0"/>
                    <a:pt x="1177" y="0"/>
                  </a:cubicBezTo>
                  <a:cubicBezTo>
                    <a:pt x="1177" y="0"/>
                    <a:pt x="1177" y="0"/>
                    <a:pt x="1177" y="0"/>
                  </a:cubicBezTo>
                  <a:cubicBezTo>
                    <a:pt x="1175" y="0"/>
                    <a:pt x="1173" y="0"/>
                    <a:pt x="1170" y="0"/>
                  </a:cubicBez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1" name="ïṧļïḓè">
              <a:extLst>
                <a:ext uri="{FF2B5EF4-FFF2-40B4-BE49-F238E27FC236}">
                  <a16:creationId xmlns:a16="http://schemas.microsoft.com/office/drawing/2014/main" id="{6BAC2652-93D3-460E-A1C2-A301031A0DD3}"/>
                </a:ext>
              </a:extLst>
            </p:cNvPr>
            <p:cNvSpPr txBox="1"/>
            <p:nvPr/>
          </p:nvSpPr>
          <p:spPr bwMode="auto">
            <a:xfrm>
              <a:off x="5698067" y="2378897"/>
              <a:ext cx="2312458" cy="394173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altLang="zh-CN" sz="1600" b="1" i="1" dirty="0">
                  <a:solidFill>
                    <a:schemeClr val="bg1"/>
                  </a:solidFill>
                </a:rPr>
                <a:t>MySQL</a:t>
              </a:r>
            </a:p>
          </p:txBody>
        </p:sp>
        <p:sp>
          <p:nvSpPr>
            <p:cNvPr id="12" name="i$1îde">
              <a:extLst>
                <a:ext uri="{FF2B5EF4-FFF2-40B4-BE49-F238E27FC236}">
                  <a16:creationId xmlns:a16="http://schemas.microsoft.com/office/drawing/2014/main" id="{6BAC2652-93D3-460E-A1C2-A301031A0DD3}"/>
                </a:ext>
              </a:extLst>
            </p:cNvPr>
            <p:cNvSpPr txBox="1"/>
            <p:nvPr/>
          </p:nvSpPr>
          <p:spPr bwMode="auto">
            <a:xfrm>
              <a:off x="6294967" y="2852695"/>
              <a:ext cx="1715558" cy="394173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spcBef>
                  <a:spcPct val="0"/>
                </a:spcBef>
              </a:pPr>
              <a:r>
                <a:rPr lang="en-US" altLang="zh-CN" sz="1600" b="1" i="1" dirty="0"/>
                <a:t>PHP</a:t>
              </a:r>
            </a:p>
          </p:txBody>
        </p:sp>
        <p:sp>
          <p:nvSpPr>
            <p:cNvPr id="13" name="îS1iḓe">
              <a:extLst>
                <a:ext uri="{FF2B5EF4-FFF2-40B4-BE49-F238E27FC236}">
                  <a16:creationId xmlns:a16="http://schemas.microsoft.com/office/drawing/2014/main" id="{6BAC2652-93D3-460E-A1C2-A301031A0DD3}"/>
                </a:ext>
              </a:extLst>
            </p:cNvPr>
            <p:cNvSpPr txBox="1"/>
            <p:nvPr/>
          </p:nvSpPr>
          <p:spPr bwMode="auto">
            <a:xfrm>
              <a:off x="6896100" y="3313211"/>
              <a:ext cx="683683" cy="394173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spcBef>
                  <a:spcPct val="0"/>
                </a:spcBef>
              </a:pPr>
              <a:r>
                <a:rPr lang="en-US" altLang="zh-CN" sz="1600" b="1" i="1" dirty="0"/>
                <a:t>Vue</a:t>
              </a:r>
            </a:p>
          </p:txBody>
        </p:sp>
        <p:grpSp>
          <p:nvGrpSpPr>
            <p:cNvPr id="15" name="ïṣļïḍé"/>
            <p:cNvGrpSpPr/>
            <p:nvPr/>
          </p:nvGrpSpPr>
          <p:grpSpPr>
            <a:xfrm>
              <a:off x="673100" y="2044227"/>
              <a:ext cx="3933640" cy="1202309"/>
              <a:chOff x="673100" y="2505075"/>
              <a:chExt cx="3933640" cy="1202309"/>
            </a:xfrm>
          </p:grpSpPr>
          <p:sp>
            <p:nvSpPr>
              <p:cNvPr id="24" name="îşļíḑe">
                <a:extLst>
                  <a:ext uri="{FF2B5EF4-FFF2-40B4-BE49-F238E27FC236}">
                    <a16:creationId xmlns:a16="http://schemas.microsoft.com/office/drawing/2014/main" id="{E632F477-E3A9-47DC-9B17-2FF72B06E79D}"/>
                  </a:ext>
                </a:extLst>
              </p:cNvPr>
              <p:cNvSpPr/>
              <p:nvPr/>
            </p:nvSpPr>
            <p:spPr bwMode="auto">
              <a:xfrm>
                <a:off x="673100" y="2970156"/>
                <a:ext cx="3933640" cy="73722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zh-CN" altLang="en-US" sz="1200" dirty="0"/>
                  <a:t>使用</a:t>
                </a:r>
                <a:r>
                  <a:rPr lang="en-US" altLang="zh-CN" sz="1200" dirty="0"/>
                  <a:t>MySQL</a:t>
                </a:r>
                <a:r>
                  <a:rPr lang="zh-CN" altLang="en-US" sz="1200" dirty="0"/>
                  <a:t>构建数据库</a:t>
                </a:r>
                <a:endParaRPr lang="en-US" altLang="zh-CN" sz="1200" dirty="0"/>
              </a:p>
            </p:txBody>
          </p:sp>
          <p:sp>
            <p:nvSpPr>
              <p:cNvPr id="25" name="íṩḻïḍê">
                <a:extLst>
                  <a:ext uri="{FF2B5EF4-FFF2-40B4-BE49-F238E27FC236}">
                    <a16:creationId xmlns:a16="http://schemas.microsoft.com/office/drawing/2014/main" id="{6BAC2652-93D3-460E-A1C2-A301031A0DD3}"/>
                  </a:ext>
                </a:extLst>
              </p:cNvPr>
              <p:cNvSpPr txBox="1"/>
              <p:nvPr/>
            </p:nvSpPr>
            <p:spPr bwMode="auto">
              <a:xfrm>
                <a:off x="673100" y="2505075"/>
                <a:ext cx="3933640" cy="465081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spcBef>
                    <a:spcPct val="0"/>
                  </a:spcBef>
                </a:pPr>
                <a:r>
                  <a:rPr lang="en-US" altLang="zh-CN" b="1" dirty="0"/>
                  <a:t>MySQL</a:t>
                </a:r>
              </a:p>
            </p:txBody>
          </p:sp>
        </p:grpSp>
        <p:grpSp>
          <p:nvGrpSpPr>
            <p:cNvPr id="16" name="iṧļiḋé"/>
            <p:cNvGrpSpPr/>
            <p:nvPr/>
          </p:nvGrpSpPr>
          <p:grpSpPr>
            <a:xfrm>
              <a:off x="673100" y="3447306"/>
              <a:ext cx="3933640" cy="1202309"/>
              <a:chOff x="673100" y="2505075"/>
              <a:chExt cx="3933640" cy="1202309"/>
            </a:xfrm>
          </p:grpSpPr>
          <p:sp>
            <p:nvSpPr>
              <p:cNvPr id="22" name="ïSḷiḍè">
                <a:extLst>
                  <a:ext uri="{FF2B5EF4-FFF2-40B4-BE49-F238E27FC236}">
                    <a16:creationId xmlns:a16="http://schemas.microsoft.com/office/drawing/2014/main" id="{E632F477-E3A9-47DC-9B17-2FF72B06E79D}"/>
                  </a:ext>
                </a:extLst>
              </p:cNvPr>
              <p:cNvSpPr/>
              <p:nvPr/>
            </p:nvSpPr>
            <p:spPr bwMode="auto">
              <a:xfrm>
                <a:off x="673100" y="2970156"/>
                <a:ext cx="3933640" cy="73722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en-US" altLang="zh-CN" sz="1200" dirty="0"/>
                  <a:t>PHP</a:t>
                </a:r>
                <a:r>
                  <a:rPr lang="zh-CN" altLang="en-US" sz="1200" dirty="0"/>
                  <a:t>做后端数据交互</a:t>
                </a:r>
                <a:endParaRPr lang="en-US" altLang="zh-CN" sz="1200" dirty="0"/>
              </a:p>
            </p:txBody>
          </p:sp>
          <p:sp>
            <p:nvSpPr>
              <p:cNvPr id="23" name="isľíḑè">
                <a:extLst>
                  <a:ext uri="{FF2B5EF4-FFF2-40B4-BE49-F238E27FC236}">
                    <a16:creationId xmlns:a16="http://schemas.microsoft.com/office/drawing/2014/main" id="{6BAC2652-93D3-460E-A1C2-A301031A0DD3}"/>
                  </a:ext>
                </a:extLst>
              </p:cNvPr>
              <p:cNvSpPr txBox="1"/>
              <p:nvPr/>
            </p:nvSpPr>
            <p:spPr bwMode="auto">
              <a:xfrm>
                <a:off x="673100" y="2505075"/>
                <a:ext cx="3933640" cy="465081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spcBef>
                    <a:spcPct val="0"/>
                  </a:spcBef>
                </a:pPr>
                <a:r>
                  <a:rPr lang="en-US" altLang="zh-CN" b="1" dirty="0"/>
                  <a:t>PHP</a:t>
                </a:r>
              </a:p>
            </p:txBody>
          </p:sp>
        </p:grpSp>
        <p:grpSp>
          <p:nvGrpSpPr>
            <p:cNvPr id="17" name="íṡḻíḍe"/>
            <p:cNvGrpSpPr/>
            <p:nvPr/>
          </p:nvGrpSpPr>
          <p:grpSpPr>
            <a:xfrm>
              <a:off x="673100" y="4850384"/>
              <a:ext cx="3933640" cy="1202309"/>
              <a:chOff x="673100" y="2505075"/>
              <a:chExt cx="3933640" cy="1202309"/>
            </a:xfrm>
          </p:grpSpPr>
          <p:sp>
            <p:nvSpPr>
              <p:cNvPr id="20" name="îŝḷïďé">
                <a:extLst>
                  <a:ext uri="{FF2B5EF4-FFF2-40B4-BE49-F238E27FC236}">
                    <a16:creationId xmlns:a16="http://schemas.microsoft.com/office/drawing/2014/main" id="{E632F477-E3A9-47DC-9B17-2FF72B06E79D}"/>
                  </a:ext>
                </a:extLst>
              </p:cNvPr>
              <p:cNvSpPr/>
              <p:nvPr/>
            </p:nvSpPr>
            <p:spPr bwMode="auto">
              <a:xfrm>
                <a:off x="673100" y="2970156"/>
                <a:ext cx="3933640" cy="73722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en-US" altLang="zh-CN" sz="1200" dirty="0"/>
                  <a:t>Vue</a:t>
                </a:r>
                <a:r>
                  <a:rPr lang="zh-CN" altLang="en-US" sz="1200" dirty="0"/>
                  <a:t>用作前端美化界面</a:t>
                </a:r>
                <a:endParaRPr lang="en-US" altLang="zh-CN" sz="1200" dirty="0"/>
              </a:p>
            </p:txBody>
          </p:sp>
          <p:sp>
            <p:nvSpPr>
              <p:cNvPr id="21" name="ïSľîḋé">
                <a:extLst>
                  <a:ext uri="{FF2B5EF4-FFF2-40B4-BE49-F238E27FC236}">
                    <a16:creationId xmlns:a16="http://schemas.microsoft.com/office/drawing/2014/main" id="{6BAC2652-93D3-460E-A1C2-A301031A0DD3}"/>
                  </a:ext>
                </a:extLst>
              </p:cNvPr>
              <p:cNvSpPr txBox="1"/>
              <p:nvPr/>
            </p:nvSpPr>
            <p:spPr bwMode="auto">
              <a:xfrm>
                <a:off x="673100" y="2505075"/>
                <a:ext cx="3933640" cy="465081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spcBef>
                    <a:spcPct val="0"/>
                  </a:spcBef>
                </a:pPr>
                <a:r>
                  <a:rPr lang="en-US" altLang="zh-CN" b="1" dirty="0"/>
                  <a:t>Vue + ElementUI</a:t>
                </a:r>
              </a:p>
            </p:txBody>
          </p:sp>
        </p:grpSp>
        <p:cxnSp>
          <p:nvCxnSpPr>
            <p:cNvPr id="18" name="直接连接符 17"/>
            <p:cNvCxnSpPr/>
            <p:nvPr/>
          </p:nvCxnSpPr>
          <p:spPr>
            <a:xfrm>
              <a:off x="669925" y="3346921"/>
              <a:ext cx="3587750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直接连接符 18"/>
            <p:cNvCxnSpPr/>
            <p:nvPr/>
          </p:nvCxnSpPr>
          <p:spPr>
            <a:xfrm>
              <a:off x="669925" y="4750000"/>
              <a:ext cx="3587750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custDataLst>
      <p:tags r:id="rId1"/>
    </p:custDataLst>
    <p:extLst>
      <p:ext uri="{BB962C8B-B14F-4D97-AF65-F5344CB8AC3E}">
        <p14:creationId xmlns:p14="http://schemas.microsoft.com/office/powerpoint/2010/main" val="29372300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#418478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67245D"/>
      </a:accent1>
      <a:accent2>
        <a:srgbClr val="986595"/>
      </a:accent2>
      <a:accent3>
        <a:srgbClr val="D4A1D1"/>
      </a:accent3>
      <a:accent4>
        <a:srgbClr val="272727"/>
      </a:accent4>
      <a:accent5>
        <a:srgbClr val="545454"/>
      </a:accent5>
      <a:accent6>
        <a:srgbClr val="808080"/>
      </a:accent6>
      <a:hlink>
        <a:srgbClr val="67245D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【20190416更新】主题设计标准-完整版.potx" id="{CEC5E909-CBB2-4933-951C-968AD9C49C0F}" vid="{29E3E208-87A9-4E6D-BED1-1B961AFC84E1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67245D"/>
    </a:accent1>
    <a:accent2>
      <a:srgbClr val="986595"/>
    </a:accent2>
    <a:accent3>
      <a:srgbClr val="D4A1D1"/>
    </a:accent3>
    <a:accent4>
      <a:srgbClr val="272727"/>
    </a:accent4>
    <a:accent5>
      <a:srgbClr val="545454"/>
    </a:accent5>
    <a:accent6>
      <a:srgbClr val="808080"/>
    </a:accent6>
    <a:hlink>
      <a:srgbClr val="67245D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67245D"/>
    </a:accent1>
    <a:accent2>
      <a:srgbClr val="986595"/>
    </a:accent2>
    <a:accent3>
      <a:srgbClr val="D4A1D1"/>
    </a:accent3>
    <a:accent4>
      <a:srgbClr val="272727"/>
    </a:accent4>
    <a:accent5>
      <a:srgbClr val="545454"/>
    </a:accent5>
    <a:accent6>
      <a:srgbClr val="808080"/>
    </a:accent6>
    <a:hlink>
      <a:srgbClr val="67245D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67245D"/>
    </a:accent1>
    <a:accent2>
      <a:srgbClr val="986595"/>
    </a:accent2>
    <a:accent3>
      <a:srgbClr val="D4A1D1"/>
    </a:accent3>
    <a:accent4>
      <a:srgbClr val="272727"/>
    </a:accent4>
    <a:accent5>
      <a:srgbClr val="545454"/>
    </a:accent5>
    <a:accent6>
      <a:srgbClr val="808080"/>
    </a:accent6>
    <a:hlink>
      <a:srgbClr val="67245D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98</TotalTime>
  <Words>404</Words>
  <Application>Microsoft Office PowerPoint</Application>
  <PresentationFormat>宽屏</PresentationFormat>
  <Paragraphs>122</Paragraphs>
  <Slides>13</Slides>
  <Notes>9</Notes>
  <HiddenSlides>0</HiddenSlides>
  <MMClips>0</MMClips>
  <ScaleCrop>false</ScaleCrop>
  <HeadingPairs>
    <vt:vector size="8" baseType="variant">
      <vt:variant>
        <vt:lpstr>已用的字体</vt:lpstr>
      </vt:variant>
      <vt:variant>
        <vt:i4>4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3</vt:i4>
      </vt:variant>
    </vt:vector>
  </HeadingPairs>
  <TitlesOfParts>
    <vt:vector size="19" baseType="lpstr">
      <vt:lpstr>等线</vt:lpstr>
      <vt:lpstr>Arial</vt:lpstr>
      <vt:lpstr>Calibri</vt:lpstr>
      <vt:lpstr>Impact</vt:lpstr>
      <vt:lpstr>主题5</vt:lpstr>
      <vt:lpstr>think-cell Slide</vt:lpstr>
      <vt:lpstr>基于PHP的快递仓储管理系统</vt:lpstr>
      <vt:lpstr>PowerPoint 演示文稿</vt:lpstr>
      <vt:lpstr>选题目的与意义</vt:lpstr>
      <vt:lpstr>选题目的</vt:lpstr>
      <vt:lpstr>选题意义</vt:lpstr>
      <vt:lpstr>论文综述</vt:lpstr>
      <vt:lpstr>程序流程</vt:lpstr>
      <vt:lpstr>研究方法及过程</vt:lpstr>
      <vt:lpstr>研究方法</vt:lpstr>
      <vt:lpstr>研究过程</vt:lpstr>
      <vt:lpstr>论文总结</vt:lpstr>
      <vt:lpstr>论文总结</vt:lpstr>
      <vt:lpstr>感谢您的观看 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Slide® PowerPoint standard template</dc:title>
  <dc:creator>iSlide</dc:creator>
  <cp:lastModifiedBy>C Plan</cp:lastModifiedBy>
  <cp:revision>19</cp:revision>
  <cp:lastPrinted>2020-05-07T16:00:00Z</cp:lastPrinted>
  <dcterms:created xsi:type="dcterms:W3CDTF">2020-05-07T16:00:00Z</dcterms:created>
  <dcterms:modified xsi:type="dcterms:W3CDTF">2022-10-28T05:44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